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notesSlides/notesSlide38.xml" ContentType="application/vnd.openxmlformats-officedocument.presentationml.notesSlide+xml"/>
  <Override PartName="/ppt/notesSlides/notesSlide49.xml" ContentType="application/vnd.openxmlformats-officedocument.presentationml.notesSlid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Override PartName="/ppt/notesSlides/notesSlide45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bin" ContentType="application/vnd.openxmlformats-officedocument.oleObject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46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notesSlides/notesSlide2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42.xml" ContentType="application/vnd.openxmlformats-officedocument.presentationml.notesSlide+xml"/>
  <Default Extension="vml" ContentType="application/vnd.openxmlformats-officedocument.vmlDrawing"/>
  <Override PartName="/ppt/slideLayouts/slideLayout10.xml" ContentType="application/vnd.openxmlformats-officedocument.presentationml.slideLayout+xml"/>
  <Default Extension="gif" ContentType="image/gif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notesSlides/notesSlide47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notesSlides/notesSlide25.xml" ContentType="application/vnd.openxmlformats-officedocument.presentationml.notesSlide+xml"/>
  <Override PartName="/ppt/notesSlides/notesSlide43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Slides/notesSlide19.xml" ContentType="application/vnd.openxmlformats-officedocument.presentationml.notesSlide+xml"/>
  <Override PartName="/ppt/notesSlides/notesSlide48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notesSlides/notesSlide37.xml" ContentType="application/vnd.openxmlformats-officedocument.presentationml.notesSlid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44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28" r:id="rId5"/>
    <p:sldMasterId id="2147483716" r:id="rId6"/>
    <p:sldMasterId id="2147483713" r:id="rId7"/>
  </p:sldMasterIdLst>
  <p:notesMasterIdLst>
    <p:notesMasterId r:id="rId58"/>
  </p:notesMasterIdLst>
  <p:handoutMasterIdLst>
    <p:handoutMasterId r:id="rId59"/>
  </p:handoutMasterIdLst>
  <p:sldIdLst>
    <p:sldId id="265" r:id="rId8"/>
    <p:sldId id="339" r:id="rId9"/>
    <p:sldId id="340" r:id="rId10"/>
    <p:sldId id="370" r:id="rId11"/>
    <p:sldId id="371" r:id="rId12"/>
    <p:sldId id="372" r:id="rId13"/>
    <p:sldId id="373" r:id="rId14"/>
    <p:sldId id="374" r:id="rId15"/>
    <p:sldId id="375" r:id="rId16"/>
    <p:sldId id="376" r:id="rId17"/>
    <p:sldId id="377" r:id="rId18"/>
    <p:sldId id="378" r:id="rId19"/>
    <p:sldId id="379" r:id="rId20"/>
    <p:sldId id="380" r:id="rId21"/>
    <p:sldId id="381" r:id="rId22"/>
    <p:sldId id="382" r:id="rId23"/>
    <p:sldId id="383" r:id="rId24"/>
    <p:sldId id="384" r:id="rId25"/>
    <p:sldId id="385" r:id="rId26"/>
    <p:sldId id="386" r:id="rId27"/>
    <p:sldId id="387" r:id="rId28"/>
    <p:sldId id="388" r:id="rId29"/>
    <p:sldId id="389" r:id="rId30"/>
    <p:sldId id="390" r:id="rId31"/>
    <p:sldId id="391" r:id="rId32"/>
    <p:sldId id="392" r:id="rId33"/>
    <p:sldId id="393" r:id="rId34"/>
    <p:sldId id="394" r:id="rId35"/>
    <p:sldId id="395" r:id="rId36"/>
    <p:sldId id="396" r:id="rId37"/>
    <p:sldId id="397" r:id="rId38"/>
    <p:sldId id="398" r:id="rId39"/>
    <p:sldId id="399" r:id="rId40"/>
    <p:sldId id="400" r:id="rId41"/>
    <p:sldId id="401" r:id="rId42"/>
    <p:sldId id="402" r:id="rId43"/>
    <p:sldId id="403" r:id="rId44"/>
    <p:sldId id="404" r:id="rId45"/>
    <p:sldId id="405" r:id="rId46"/>
    <p:sldId id="406" r:id="rId47"/>
    <p:sldId id="407" r:id="rId48"/>
    <p:sldId id="408" r:id="rId49"/>
    <p:sldId id="409" r:id="rId50"/>
    <p:sldId id="410" r:id="rId51"/>
    <p:sldId id="411" r:id="rId52"/>
    <p:sldId id="412" r:id="rId53"/>
    <p:sldId id="413" r:id="rId54"/>
    <p:sldId id="414" r:id="rId55"/>
    <p:sldId id="415" r:id="rId56"/>
    <p:sldId id="416" r:id="rId57"/>
  </p:sldIdLst>
  <p:sldSz cx="9144000" cy="5143500" type="screen16x9"/>
  <p:notesSz cx="6858000" cy="9144000"/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3300"/>
    <a:srgbClr val="BDBD00"/>
    <a:srgbClr val="FF9900"/>
    <a:srgbClr val="598E20"/>
    <a:srgbClr val="00234B"/>
    <a:srgbClr val="ED771A"/>
    <a:srgbClr val="FFFF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1541" autoAdjust="0"/>
  </p:normalViewPr>
  <p:slideViewPr>
    <p:cSldViewPr snapToGrid="0" showGuides="1">
      <p:cViewPr>
        <p:scale>
          <a:sx n="79" d="100"/>
          <a:sy n="79" d="100"/>
        </p:scale>
        <p:origin x="-990" y="84"/>
      </p:cViewPr>
      <p:guideLst>
        <p:guide orient="horz" pos="162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9" d="100"/>
        <a:sy n="79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-3168" y="-82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61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1/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60475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779252" rtl="0" eaLnBrk="1" latinLnBrk="0" hangingPunct="1">
      <a:buClr>
        <a:srgbClr val="BDBD00"/>
      </a:buClr>
      <a:buFont typeface="Wingdings" pitchFamily="2" charset="2"/>
      <a:buChar char="q"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89626" algn="l" defTabSz="779252" rtl="0" eaLnBrk="1" latinLnBrk="0" hangingPunct="1">
      <a:buClr>
        <a:srgbClr val="BDBD00"/>
      </a:buClr>
      <a:buFont typeface="Wingdings" pitchFamily="2" charset="2"/>
      <a:buChar char="q"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779252" algn="l" defTabSz="779252" rtl="0" eaLnBrk="1" latinLnBrk="0" hangingPunct="1">
      <a:buClr>
        <a:srgbClr val="BDBD00"/>
      </a:buClr>
      <a:buFont typeface="Wingdings" pitchFamily="2" charset="2"/>
      <a:buChar char="q"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168878" algn="l" defTabSz="779252" rtl="0" eaLnBrk="1" latinLnBrk="0" hangingPunct="1">
      <a:buClr>
        <a:srgbClr val="BDBD00"/>
      </a:buClr>
      <a:buFont typeface="Wingdings" pitchFamily="2" charset="2"/>
      <a:buChar char="q"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558503" algn="l" defTabSz="779252" rtl="0" eaLnBrk="1" latinLnBrk="0" hangingPunct="1">
      <a:buClr>
        <a:srgbClr val="BDBD00"/>
      </a:buClr>
      <a:buFont typeface="Wingdings" pitchFamily="2" charset="2"/>
      <a:buChar char="q"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604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2213" y="839788"/>
            <a:ext cx="6226175" cy="3503612"/>
          </a:xfrm>
          <a:ln/>
        </p:spPr>
      </p:sp>
      <p:sp>
        <p:nvSpPr>
          <p:cNvPr id="35844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981200" y="4572000"/>
            <a:ext cx="4648200" cy="3963988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35845" name="Text Box 5"/>
          <p:cNvSpPr txBox="1">
            <a:spLocks noChangeArrowheads="1"/>
          </p:cNvSpPr>
          <p:nvPr/>
        </p:nvSpPr>
        <p:spPr bwMode="auto">
          <a:xfrm>
            <a:off x="152400" y="1295400"/>
            <a:ext cx="16764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dirty="0">
                <a:latin typeface="Trebuchet MS" pitchFamily="34" charset="0"/>
              </a:rPr>
              <a:t>Explain the lesson coverage</a:t>
            </a: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image" Target="../media/image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46538" cy="119063"/>
        </p:xfrm>
        <a:graphic>
          <a:graphicData uri="http://schemas.openxmlformats.org/presentationml/2006/ole">
            <p:oleObj spid="_x0000_s14340" name="think-cell Slide" r:id="rId6" imgW="360" imgH="360" progId="">
              <p:embed/>
            </p:oleObj>
          </a:graphicData>
        </a:graphic>
      </p:graphicFrame>
      <p:pic>
        <p:nvPicPr>
          <p:cNvPr id="6" name="Image 11" descr="GraphicTablet_shutterstock_73936774.jpg"/>
          <p:cNvPicPr>
            <a:picLocks noChangeAspect="1"/>
          </p:cNvPicPr>
          <p:nvPr userDrawn="1"/>
        </p:nvPicPr>
        <p:blipFill>
          <a:blip r:embed="rId7" cstate="print"/>
          <a:srcRect b="14021"/>
          <a:stretch>
            <a:fillRect/>
          </a:stretch>
        </p:blipFill>
        <p:spPr>
          <a:xfrm>
            <a:off x="1588" y="883526"/>
            <a:ext cx="9904413" cy="4259975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2" y="0"/>
            <a:ext cx="9906318" cy="20122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28173" tIns="36624" rIns="28173" bIns="36624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43238" y="2208806"/>
            <a:ext cx="4915261" cy="823618"/>
          </a:xfrm>
        </p:spPr>
        <p:txBody>
          <a:bodyPr vert="horz" lIns="0" tIns="28173" rIns="28173" bIns="28173" rtlCol="0" anchor="t">
            <a:noAutofit/>
          </a:bodyPr>
          <a:lstStyle>
            <a:lvl1pPr marL="0" indent="0" algn="l" defTabSz="77920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940137" y="3324784"/>
            <a:ext cx="4918363" cy="710813"/>
          </a:xfrm>
        </p:spPr>
        <p:txBody>
          <a:bodyPr lIns="0" tIns="28173" rIns="28173" bIns="28173"/>
          <a:lstStyle>
            <a:lvl1pPr marL="0" indent="0" algn="l">
              <a:buNone/>
              <a:defRPr sz="1900" b="0">
                <a:solidFill>
                  <a:schemeClr val="tx1"/>
                </a:solidFill>
              </a:defRPr>
            </a:lvl1pPr>
            <a:lvl2pPr marL="389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8" name="Image 10" descr="Capgemini_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35690" y="494028"/>
            <a:ext cx="2880000" cy="51453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E125D57F-D058-4785-AE69-4051EF09BCDE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032346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142EE93-3912-4F7A-A116-AD58C43B6D10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690651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CACDFF22-B6EA-4CED-A6CA-61C16E5EAB15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161237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A0410464-921E-44DE-8661-BEFE8F21C728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810021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4E67F5D-EE00-4A60-BE82-D0881C03BA66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028776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92453C69-B6DB-4482-9D7D-A9D66B2576A4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249681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CE1D0F29-5A92-4827-9A0E-CF6BC89C19B0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749971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B09E437-E805-4B6F-B83F-3A554894CB63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8055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27887C-E3D9-4956-B241-0D7B3E50E8A2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53157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75850057-C325-4AB0-8C0E-59DC42E45BBA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56211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1"/>
          <a:ext cx="135749" cy="107989"/>
        </p:xfrm>
        <a:graphic>
          <a:graphicData uri="http://schemas.openxmlformats.org/presentationml/2006/ole">
            <p:oleObj spid="_x0000_s1536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1121076"/>
            <a:ext cx="884548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=""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D9E8221-FB7D-4883-86F6-263E75469167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445858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E125D57F-D058-4785-AE69-4051EF09BCDE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03234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142EE93-3912-4F7A-A116-AD58C43B6D10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690651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CACDFF22-B6EA-4CED-A6CA-61C16E5EAB15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161237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A0410464-921E-44DE-8661-BEFE8F21C728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810021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4E67F5D-EE00-4A60-BE82-D0881C03BA66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02877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92453C69-B6DB-4482-9D7D-A9D66B2576A4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249681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CE1D0F29-5A92-4827-9A0E-CF6BC89C19B0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749971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35749" cy="107989"/>
        </p:xfrm>
        <a:graphic>
          <a:graphicData uri="http://schemas.openxmlformats.org/presentationml/2006/ole">
            <p:oleObj spid="_x0000_s69634" name="think-cell Slide" r:id="rId5" imgW="360" imgH="360" progId="">
              <p:embed/>
            </p:oleObj>
          </a:graphicData>
        </a:graphic>
      </p:graphicFrame>
      <p:sp>
        <p:nvSpPr>
          <p:cNvPr id="7" name="Rectangle 6"/>
          <p:cNvSpPr/>
          <p:nvPr userDrawn="1">
            <p:custDataLst>
              <p:tags r:id="rId2"/>
            </p:custDataLst>
          </p:nvPr>
        </p:nvSpPr>
        <p:spPr>
          <a:xfrm>
            <a:off x="4527501" y="4785622"/>
            <a:ext cx="4045000" cy="210785"/>
          </a:xfrm>
          <a:prstGeom prst="rect">
            <a:avLst/>
          </a:prstGeom>
        </p:spPr>
        <p:txBody>
          <a:bodyPr wrap="square" lIns="28173" tIns="28173" rIns="0" bIns="28173" anchor="b" anchorCtr="0">
            <a:spAutoFit/>
          </a:bodyPr>
          <a:lstStyle/>
          <a:p>
            <a:pPr algn="r"/>
            <a:r>
              <a:rPr lang="en-US" sz="5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81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4 </a:t>
            </a:r>
            <a:r>
              <a:rPr lang="en-US" sz="5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 Rightshore</a:t>
            </a:r>
            <a:r>
              <a:rPr lang="en-US" sz="500" b="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5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5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1004" y="2769919"/>
            <a:ext cx="3932160" cy="1511693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06792" tIns="43420" rIns="184075" bIns="122717" rtlCol="0" anchor="b"/>
          <a:lstStyle/>
          <a:p>
            <a:pPr marL="0" marR="0" indent="0" algn="just" defTabSz="8888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9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9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0,000 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40 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ies, Capgemini is one of the world's foremost providers of consulting, technology and outsourcing services. The Group reported 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3</a:t>
            </a:r>
            <a:r>
              <a:rPr lang="en-US" sz="9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venues of 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UR 10.1 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.</a:t>
            </a:r>
          </a:p>
          <a:p>
            <a:pPr marL="0" indent="0" algn="just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9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9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9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Image 10" descr="ppt_Label_CBE.pn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751798" y="2594015"/>
            <a:ext cx="531692" cy="432000"/>
          </a:xfrm>
          <a:prstGeom prst="rect">
            <a:avLst/>
          </a:prstGeom>
        </p:spPr>
      </p:pic>
      <p:pic>
        <p:nvPicPr>
          <p:cNvPr id="8" name="Image 7" descr="Locations_Map_2014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42446" y="2532039"/>
            <a:ext cx="3595355" cy="1404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6538" cy="119063"/>
        </p:xfrm>
        <a:graphic>
          <a:graphicData uri="http://schemas.openxmlformats.org/presentationml/2006/ole">
            <p:oleObj spid="_x0000_s70658" name="think-cell Slide" r:id="rId4" imgW="360" imgH="360" progId="">
              <p:embed/>
            </p:oleObj>
          </a:graphicData>
        </a:graphic>
      </p:graphicFrame>
      <p:sp>
        <p:nvSpPr>
          <p:cNvPr id="4" name="Rectangle 3"/>
          <p:cNvSpPr/>
          <p:nvPr userDrawn="1">
            <p:custDataLst>
              <p:tags r:id="rId2"/>
            </p:custDataLst>
          </p:nvPr>
        </p:nvSpPr>
        <p:spPr>
          <a:xfrm>
            <a:off x="4527501" y="4785622"/>
            <a:ext cx="4045000" cy="210785"/>
          </a:xfrm>
          <a:prstGeom prst="rect">
            <a:avLst/>
          </a:prstGeom>
        </p:spPr>
        <p:txBody>
          <a:bodyPr wrap="square" lIns="28173" tIns="28173" rIns="0" bIns="28173" anchor="b" anchorCtr="0">
            <a:spAutoFit/>
          </a:bodyPr>
          <a:lstStyle/>
          <a:p>
            <a:pPr algn="r"/>
            <a:r>
              <a:rPr lang="en-US" sz="5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81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4 </a:t>
            </a:r>
            <a:r>
              <a:rPr lang="en-US" sz="5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</a:t>
            </a:r>
            <a:r>
              <a:rPr lang="en-US" sz="5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5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6"/>
            <a:ext cx="679376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102" y="1371600"/>
            <a:ext cx="1985371" cy="15087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" y="1"/>
          <a:ext cx="135749" cy="107989"/>
        </p:xfrm>
        <a:graphic>
          <a:graphicData uri="http://schemas.openxmlformats.org/presentationml/2006/ole">
            <p:oleObj spid="_x0000_s20484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27887C-E3D9-4956-B241-0D7B3E50E8A2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53157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B09E437-E805-4B6F-B83F-3A554894CB63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805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27887C-E3D9-4956-B241-0D7B3E50E8A2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531576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75850057-C325-4AB0-8C0E-59DC42E45BBA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56211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D9E8221-FB7D-4883-86F6-263E75469167}" type="datetime1">
              <a:rPr lang="en-US" smtClean="0"/>
              <a:pPr/>
              <a:t>1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44585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9.png"/><Relationship Id="rId3" Type="http://schemas.openxmlformats.org/officeDocument/2006/relationships/theme" Target="../theme/theme4.xml"/><Relationship Id="rId21" Type="http://schemas.openxmlformats.org/officeDocument/2006/relationships/hyperlink" Target="http://www.youtube.com/capgemini" TargetMode="Externa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hyperlink" Target="http://www.linkedin.com/company/capgemini" TargetMode="External"/><Relationship Id="rId25" Type="http://schemas.openxmlformats.org/officeDocument/2006/relationships/image" Target="../media/image4.jpe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8.png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image" Target="../media/image12.gif"/><Relationship Id="rId5" Type="http://schemas.openxmlformats.org/officeDocument/2006/relationships/tags" Target="../tags/tag13.xml"/><Relationship Id="rId15" Type="http://schemas.openxmlformats.org/officeDocument/2006/relationships/hyperlink" Target="http://www.facebook.com/Capgemini" TargetMode="External"/><Relationship Id="rId23" Type="http://schemas.openxmlformats.org/officeDocument/2006/relationships/hyperlink" Target="http://www.slideshare.net/capgemini" TargetMode="External"/><Relationship Id="rId10" Type="http://schemas.openxmlformats.org/officeDocument/2006/relationships/tags" Target="../tags/tag18.xml"/><Relationship Id="rId19" Type="http://schemas.openxmlformats.org/officeDocument/2006/relationships/hyperlink" Target="http://www.twitter.com/capgemini" TargetMode="External"/><Relationship Id="rId4" Type="http://schemas.openxmlformats.org/officeDocument/2006/relationships/vmlDrawing" Target="../drawings/vmlDrawing5.vml"/><Relationship Id="rId9" Type="http://schemas.openxmlformats.org/officeDocument/2006/relationships/tags" Target="../tags/tag17.xml"/><Relationship Id="rId14" Type="http://schemas.openxmlformats.org/officeDocument/2006/relationships/image" Target="../media/image7.emf"/><Relationship Id="rId22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46538" cy="119063"/>
        </p:xfrm>
        <a:graphic>
          <a:graphicData uri="http://schemas.openxmlformats.org/presentationml/2006/ole">
            <p:oleObj spid="_x0000_s13316" name="think-cell Slide" r:id="rId14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2" y="0"/>
            <a:ext cx="9143999" cy="751601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298517" y="1126483"/>
            <a:ext cx="8712115" cy="3477405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8835291" y="4990498"/>
            <a:ext cx="94578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600" smtClean="0">
                <a:solidFill>
                  <a:schemeClr val="tx2"/>
                </a:solidFill>
              </a:rPr>
              <a:pPr algn="ctr"/>
              <a:t>‹#›</a:t>
            </a:fld>
            <a:endParaRPr lang="en-US" sz="6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" y="507301"/>
            <a:ext cx="9143999" cy="54609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84848" tIns="42424" rIns="84848" bIns="42424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223229" y="4967554"/>
            <a:ext cx="2455979" cy="1376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0677" tIns="30677" rIns="30677" bIns="30677" anchor="b" anchorCtr="0">
            <a:noAutofit/>
          </a:bodyPr>
          <a:lstStyle/>
          <a:p>
            <a:pPr marL="0" marR="0" lvl="0" indent="0" algn="r" defTabSz="848318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5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5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5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6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13"/>
            </p:custDataLst>
          </p:nvPr>
        </p:nvCxnSpPr>
        <p:spPr>
          <a:xfrm flipH="1">
            <a:off x="3" y="4772025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270463" y="4829271"/>
            <a:ext cx="1438102" cy="2587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710" r:id="rId4"/>
    <p:sldLayoutId id="2147483741" r:id="rId5"/>
  </p:sldLayoutIdLst>
  <p:timing>
    <p:tnLst>
      <p:par>
        <p:cTn id="1" dur="indefinite" restart="never" nodeType="tmRoot"/>
      </p:par>
    </p:tnLst>
  </p:timing>
  <p:txStyles>
    <p:titleStyle>
      <a:lvl1pPr marL="0" indent="0" algn="l" defTabSz="779202" rtl="0" eaLnBrk="1" latinLnBrk="0" hangingPunct="1">
        <a:lnSpc>
          <a:spcPct val="85000"/>
        </a:lnSpc>
        <a:spcBef>
          <a:spcPct val="0"/>
        </a:spcBef>
        <a:buNone/>
        <a:defRPr sz="27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1626" indent="-141626" algn="l" defTabSz="779202" rtl="0" eaLnBrk="1" latinLnBrk="0" hangingPunct="1">
        <a:lnSpc>
          <a:spcPct val="90000"/>
        </a:lnSpc>
        <a:spcBef>
          <a:spcPts val="0"/>
        </a:spcBef>
        <a:spcAft>
          <a:spcPts val="511"/>
        </a:spcAft>
        <a:buClr>
          <a:schemeClr val="accent5"/>
        </a:buClr>
        <a:buFont typeface="Wingdings" pitchFamily="2" charset="2"/>
        <a:buChar char="§"/>
        <a:defRPr sz="19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03042" indent="-154227" algn="l" defTabSz="779202" rtl="0" eaLnBrk="1" latinLnBrk="0" hangingPunct="1">
        <a:lnSpc>
          <a:spcPct val="90000"/>
        </a:lnSpc>
        <a:spcBef>
          <a:spcPts val="0"/>
        </a:spcBef>
        <a:spcAft>
          <a:spcPts val="511"/>
        </a:spcAft>
        <a:buClr>
          <a:schemeClr val="accent3"/>
        </a:buClr>
        <a:buFont typeface="Wingdings" pitchFamily="2" charset="2"/>
        <a:buChar char="§"/>
        <a:defRPr sz="15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457269" indent="-140698" algn="l" defTabSz="779202" rtl="0" eaLnBrk="1" latinLnBrk="0" hangingPunct="1">
        <a:lnSpc>
          <a:spcPct val="90000"/>
        </a:lnSpc>
        <a:spcBef>
          <a:spcPts val="0"/>
        </a:spcBef>
        <a:spcAft>
          <a:spcPts val="511"/>
        </a:spcAft>
        <a:buClr>
          <a:schemeClr val="accent2"/>
        </a:buClr>
        <a:buFont typeface="Arial" pitchFamily="34" charset="0"/>
        <a:buChar char="•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606085" indent="-140698" algn="l" defTabSz="779202" rtl="0" eaLnBrk="1" latinLnBrk="0" hangingPunct="1">
        <a:lnSpc>
          <a:spcPct val="90000"/>
        </a:lnSpc>
        <a:spcBef>
          <a:spcPts val="0"/>
        </a:spcBef>
        <a:spcAft>
          <a:spcPts val="511"/>
        </a:spcAft>
        <a:buClr>
          <a:schemeClr val="bg2"/>
        </a:buClr>
        <a:buFont typeface="Arial" pitchFamily="34" charset="0"/>
        <a:buChar char="–"/>
        <a:tabLst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371722" indent="-165040" algn="l" defTabSz="77920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400" kern="1200">
          <a:solidFill>
            <a:srgbClr val="494949"/>
          </a:solidFill>
          <a:latin typeface="+mn-lt"/>
          <a:ea typeface="+mn-ea"/>
          <a:cs typeface="+mn-cs"/>
        </a:defRPr>
      </a:lvl5pPr>
      <a:lvl6pPr marL="2142807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408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009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610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01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02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03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05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06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07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209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810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5949"/>
            <a:ext cx="8229600" cy="5941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4948186"/>
            <a:ext cx="1219200" cy="17145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anuary 5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4948186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4939152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381000" y="4937149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1260144" y="4937307"/>
            <a:ext cx="0" cy="17356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4937307"/>
            <a:ext cx="0" cy="17356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14350"/>
            <a:ext cx="5600700" cy="278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Wingdings" pitchFamily="2" charset="2"/>
        <a:buChar char="Ø"/>
        <a:defRPr sz="1800" b="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5949"/>
            <a:ext cx="8229600" cy="5941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4948186"/>
            <a:ext cx="1219200" cy="17145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anuary 5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4948186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493915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381000" y="4937149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1260144" y="4937307"/>
            <a:ext cx="0" cy="17356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4937307"/>
            <a:ext cx="0" cy="17356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14350"/>
            <a:ext cx="5600700" cy="278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Wingdings" pitchFamily="2" charset="2"/>
        <a:buChar char="Ø"/>
        <a:defRPr sz="1800" b="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46538" cy="119063"/>
        </p:xfrm>
        <a:graphic>
          <a:graphicData uri="http://schemas.openxmlformats.org/presentationml/2006/ole">
            <p:oleObj spid="_x0000_s68610" name="think-cell Slide" r:id="rId13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5"/>
            </p:custDataLst>
          </p:nvPr>
        </p:nvSpPr>
        <p:spPr bwMode="auto">
          <a:xfrm flipV="1">
            <a:off x="-1529" y="1258495"/>
            <a:ext cx="9145530" cy="388500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28173" tIns="36624" rIns="28173" bIns="36624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5914038" y="906941"/>
            <a:ext cx="2658462" cy="172015"/>
          </a:xfrm>
          <a:prstGeom prst="rect">
            <a:avLst/>
          </a:prstGeom>
          <a:noFill/>
        </p:spPr>
      </p:pic>
      <p:sp>
        <p:nvSpPr>
          <p:cNvPr id="15" name="Rectangle 14"/>
          <p:cNvSpPr/>
          <p:nvPr>
            <p:custDataLst>
              <p:tags r:id="rId7"/>
            </p:custDataLst>
          </p:nvPr>
        </p:nvSpPr>
        <p:spPr>
          <a:xfrm>
            <a:off x="6419731" y="4055244"/>
            <a:ext cx="2152769" cy="323567"/>
          </a:xfrm>
          <a:prstGeom prst="rect">
            <a:avLst/>
          </a:prstGeom>
        </p:spPr>
        <p:txBody>
          <a:bodyPr wrap="none" lIns="0" tIns="30679" rIns="0" bIns="30679" anchor="b" anchorCtr="0">
            <a:spAutoFit/>
          </a:bodyPr>
          <a:lstStyle/>
          <a:p>
            <a:pPr algn="r"/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5"/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7098349" y="4449410"/>
            <a:ext cx="256821" cy="197828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17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7407960" y="4449410"/>
            <a:ext cx="259674" cy="200025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19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7988626" y="4449410"/>
            <a:ext cx="259674" cy="200025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1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8301091" y="4449410"/>
            <a:ext cx="259674" cy="200025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3"/>
          </p:cNvPr>
          <p:cNvPicPr preferRelativeResize="0">
            <a:picLocks/>
          </p:cNvPicPr>
          <p:nvPr>
            <p:custDataLst>
              <p:tags r:id="rId12"/>
            </p:custDataLst>
          </p:nvPr>
        </p:nvPicPr>
        <p:blipFill>
          <a:blip r:embed="rId24" cstate="email"/>
          <a:srcRect l="4793" t="6316" r="5718" b="7969"/>
          <a:stretch>
            <a:fillRect/>
          </a:stretch>
        </p:blipFill>
        <p:spPr>
          <a:xfrm>
            <a:off x="7720424" y="4449411"/>
            <a:ext cx="215411" cy="178594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" name="Image 12" descr="Capgemini_logo.jpg"/>
          <p:cNvPicPr>
            <a:picLocks noChangeAspect="1"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690062" y="761224"/>
            <a:ext cx="2658462" cy="51453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</p:sldLayoutIdLst>
  <p:hf hdr="0" ftr="0" dt="0"/>
  <p:txStyles>
    <p:titleStyle>
      <a:lvl1pPr algn="ctr" defTabSz="715587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345" indent="-268345" algn="l" defTabSz="715587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81414" indent="-223621" algn="l" defTabSz="715587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9448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277" indent="-178896" algn="l" defTabSz="715587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610070" indent="-178896" algn="l" defTabSz="715587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6786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25657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3451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124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943238" y="2208806"/>
            <a:ext cx="4915261" cy="823618"/>
          </a:xfrm>
        </p:spPr>
        <p:txBody>
          <a:bodyPr vert="horz" lIns="0" tIns="28173" rIns="28173" bIns="28173" rtlCol="0" anchor="t">
            <a:noAutofit/>
          </a:bodyPr>
          <a:lstStyle>
            <a:lvl1pPr marL="0" indent="0" algn="l" defTabSz="91434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dvanced PLSQ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940137" y="3324784"/>
            <a:ext cx="4918363" cy="710813"/>
          </a:xfrm>
        </p:spPr>
        <p:txBody>
          <a:bodyPr lIns="0" tIns="28173" rIns="28173" bIns="28173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z="2000" dirty="0" err="1" smtClean="0"/>
              <a:t>Lesson</a:t>
            </a:r>
            <a:r>
              <a:rPr lang="fr-FR" sz="2000" dirty="0" smtClean="0"/>
              <a:t>  –  </a:t>
            </a:r>
            <a:r>
              <a:rPr lang="fr-FR" sz="2000" dirty="0" err="1" smtClean="0"/>
              <a:t>Dynamic</a:t>
            </a:r>
            <a:r>
              <a:rPr lang="fr-FR" sz="2000" dirty="0" smtClean="0"/>
              <a:t> SQ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 fontScale="92500" lnSpcReduction="10000"/>
          </a:bodyPr>
          <a:lstStyle/>
          <a:p>
            <a:pPr algn="just"/>
            <a:r>
              <a:rPr lang="en-US" sz="1400" dirty="0" smtClean="0"/>
              <a:t>To retrieve values into variables, we use the </a:t>
            </a:r>
            <a:r>
              <a:rPr lang="en-US" sz="1400" b="1" dirty="0" smtClean="0"/>
              <a:t>INTO clause of EXECUTE IMMEDIATE</a:t>
            </a:r>
            <a:r>
              <a:rPr lang="en-US" sz="1400" dirty="0" smtClean="0"/>
              <a:t> statement :</a:t>
            </a:r>
          </a:p>
          <a:p>
            <a:pPr>
              <a:buNone/>
            </a:pPr>
            <a:r>
              <a:rPr lang="en-US" sz="1200" dirty="0" smtClean="0"/>
              <a:t>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i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:=7900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data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%rowtyp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=:1' into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data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i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employee id : '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data.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: '||edata.sal);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i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:=7902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=:1' into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data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i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employee id : '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data.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: '||edata.sal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xceptio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wh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o_data_fou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‘</a:t>
            </a:r>
            <a:r>
              <a:rPr lang="en-US" sz="140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o such employee ‘);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/</a:t>
            </a:r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5: INTO clause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INTO clause to retrieve values</a:t>
            </a:r>
            <a:r>
              <a:rPr lang="en-US" b="1" dirty="0" smtClean="0">
                <a:latin typeface="Candara"/>
              </a:rPr>
              <a:t>		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26432"/>
            <a:ext cx="8570662" cy="3814010"/>
          </a:xfrm>
        </p:spPr>
        <p:txBody>
          <a:bodyPr>
            <a:normAutofit/>
          </a:bodyPr>
          <a:lstStyle/>
          <a:p>
            <a:pPr algn="just"/>
            <a:r>
              <a:rPr lang="en-US" sz="1400" dirty="0" smtClean="0"/>
              <a:t>Use </a:t>
            </a:r>
            <a:r>
              <a:rPr lang="en-US" sz="1400" b="1" dirty="0" smtClean="0"/>
              <a:t>of EXECUTE IMMEDIATE</a:t>
            </a:r>
            <a:r>
              <a:rPr lang="en-US" sz="1400" dirty="0" smtClean="0"/>
              <a:t> to generate a PLSQL block dynamically 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or replace procedu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addo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) is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insert into mybonus1 values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sql_block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500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sql_block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'begi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addo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105, 15000); end;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sql_block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6: Generating PLSQL dynamically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PLSQL block using EXECUTE IMMEDIATE</a:t>
            </a:r>
            <a:r>
              <a:rPr lang="en-US" b="1" dirty="0" smtClean="0">
                <a:latin typeface="Candara"/>
              </a:rPr>
              <a:t>		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26432"/>
            <a:ext cx="8570662" cy="3814010"/>
          </a:xfrm>
        </p:spPr>
        <p:txBody>
          <a:bodyPr>
            <a:normAutofit/>
          </a:bodyPr>
          <a:lstStyle/>
          <a:p>
            <a:pPr algn="just"/>
            <a:r>
              <a:rPr lang="en-US" sz="1400" dirty="0" smtClean="0"/>
              <a:t>Use </a:t>
            </a:r>
            <a:r>
              <a:rPr lang="en-US" sz="1400" b="1" dirty="0" smtClean="0"/>
              <a:t>of EXECUTE IMMEDIATE</a:t>
            </a:r>
            <a:r>
              <a:rPr lang="en-US" sz="1400" dirty="0" smtClean="0"/>
              <a:t> to generate a PLSQL block dynamically :</a:t>
            </a:r>
          </a:p>
          <a:p>
            <a:pPr>
              <a:buNone/>
            </a:pPr>
            <a:endParaRPr lang="en-US" sz="18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8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sql_block</a:t>
            </a: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500);</a:t>
            </a:r>
          </a:p>
          <a:p>
            <a:pPr>
              <a:buNone/>
            </a:pP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</a:t>
            </a:r>
            <a:r>
              <a:rPr lang="en-US" sz="18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sql_block</a:t>
            </a: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'begin </a:t>
            </a:r>
            <a:r>
              <a:rPr lang="en-US" sz="18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addone</a:t>
            </a: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:a, :b); end;';</a:t>
            </a:r>
          </a:p>
          <a:p>
            <a:pPr>
              <a:buNone/>
            </a:pP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</a:t>
            </a:r>
            <a:r>
              <a:rPr lang="en-US" sz="18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sql_block</a:t>
            </a: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7905, 18000;</a:t>
            </a:r>
          </a:p>
          <a:p>
            <a:pPr>
              <a:buNone/>
            </a:pP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8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  <a:endParaRPr lang="en-US" sz="18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6: Generating PLSQL dynamically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PLSQL block using EXECUTE IMMEDIATE                 ….</a:t>
            </a:r>
            <a:r>
              <a:rPr lang="en-US" dirty="0" err="1" smtClean="0">
                <a:latin typeface="Candara"/>
              </a:rPr>
              <a:t>contd</a:t>
            </a:r>
            <a:r>
              <a:rPr lang="en-US" b="1" dirty="0" smtClean="0">
                <a:latin typeface="Candara"/>
              </a:rPr>
              <a:t>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/>
          </a:bodyPr>
          <a:lstStyle/>
          <a:p>
            <a:pPr algn="just"/>
            <a:r>
              <a:rPr lang="en-US" sz="1400" dirty="0" smtClean="0"/>
              <a:t>To retrieve values into variables from DMLs, we use the </a:t>
            </a:r>
            <a:r>
              <a:rPr lang="en-US" sz="1400" b="1" dirty="0" smtClean="0"/>
              <a:t>RETURNING INTO clause of EXECUTE IMMEDIATE</a:t>
            </a:r>
            <a:r>
              <a:rPr lang="en-US" sz="1400" dirty="0" smtClean="0"/>
              <a:t> statement 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_stmt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00):='updat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set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 sal+2000 where id = :1 returning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:2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i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:=&amp;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bon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_stmt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i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returning into bon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bon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/</a:t>
            </a:r>
          </a:p>
          <a:p>
            <a:pPr>
              <a:buNone/>
            </a:pPr>
            <a:endParaRPr lang="en-US" sz="1200" dirty="0" smtClean="0"/>
          </a:p>
          <a:p>
            <a:pPr>
              <a:buNone/>
            </a:pPr>
            <a:r>
              <a:rPr lang="en-US" sz="1200" dirty="0" smtClean="0"/>
              <a:t>The ‘Returning into’ clause returns the new updated salary into the variable bon.</a:t>
            </a:r>
            <a:endParaRPr lang="en-US" sz="1200" dirty="0"/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7:  RETURNING INTO clause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RETURNING INTO clause to retrieve values through DMLs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/>
          </a:bodyPr>
          <a:lstStyle/>
          <a:p>
            <a:pPr algn="just"/>
            <a:r>
              <a:rPr lang="en-US" sz="1400" dirty="0" smtClean="0"/>
              <a:t>To retrieve values into variables from DMLs, we use the </a:t>
            </a:r>
            <a:r>
              <a:rPr lang="en-US" sz="1400" b="1" dirty="0" smtClean="0"/>
              <a:t>RETURNING INTO clause of EXECUTE IMMEDIATE</a:t>
            </a:r>
            <a:r>
              <a:rPr lang="en-US" sz="1400" dirty="0" smtClean="0"/>
              <a:t> statement 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i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:=&amp;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mp_id1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bon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delete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id=:1 returning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:2,:3' using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i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returning into emp_id1, bon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deleted employee is :'||emp_id1||' and his salary is : '||bon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7:  RETURNING INTO clause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RETURNING INTO clause to retrieve values through DMLs   …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/>
          </a:bodyPr>
          <a:lstStyle/>
          <a:p>
            <a:pPr algn="just"/>
            <a:r>
              <a:rPr lang="en-US" sz="1400" dirty="0" smtClean="0"/>
              <a:t>Stored Procedure to accept the name of a database table (such as ’</a:t>
            </a:r>
            <a:r>
              <a:rPr lang="en-US" sz="1400" dirty="0" err="1" smtClean="0"/>
              <a:t>emp</a:t>
            </a:r>
            <a:r>
              <a:rPr lang="en-US" sz="1400" dirty="0" smtClean="0"/>
              <a:t>’) and an optional where-clause condition (such as ’</a:t>
            </a:r>
            <a:r>
              <a:rPr lang="en-US" sz="1400" dirty="0" err="1" smtClean="0"/>
              <a:t>sal</a:t>
            </a:r>
            <a:r>
              <a:rPr lang="en-US" sz="1400" dirty="0" smtClean="0"/>
              <a:t> &gt; 2000’). if you omit the condition, the procedure deletes all rows from the table. Otherwise, the procedure deletes only those rows that meet the condition 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procedu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lete_rows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le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 varchar2,  condition in varchar2 default null) as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where_claus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00) := ' where ' || condition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if condition is null then 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where_claus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null; 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delete from ' ||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le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||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where_claus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lete_rows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grade','grad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&gt;=4');</a:t>
            </a:r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8:  Dynamic SQL in Stored Procedure 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Stored Procedure generating a Dynamic SQL statement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 fontScale="92500" lnSpcReduction="20000"/>
          </a:bodyPr>
          <a:lstStyle/>
          <a:p>
            <a:pPr algn="just"/>
            <a:r>
              <a:rPr lang="en-US" sz="1400" dirty="0" smtClean="0"/>
              <a:t>With the USING clause, you need not specify a parameter mode for input bind arguments because the default mode is IN. However, OUT and IN OUT modes can be specified as per situation.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_stmt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200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:= 909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30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comm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 := 3250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new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_stmt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'updat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set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 :1 whe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 :2 returning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omm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into :3, :4,:5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/* bind returned values through USING clause. */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_stmt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out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out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comm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out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new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comm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new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</a:t>
            </a:r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9:  Using clause with modes 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clause with IN, OUT and IN OUT modes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1034716"/>
            <a:ext cx="8819147" cy="3633537"/>
          </a:xfrm>
        </p:spPr>
        <p:txBody>
          <a:bodyPr>
            <a:normAutofit/>
          </a:bodyPr>
          <a:lstStyle/>
          <a:p>
            <a:pPr algn="just"/>
            <a:r>
              <a:rPr lang="en-US" sz="1400" dirty="0" smtClean="0"/>
              <a:t>When appropriate, you must specify the OUT or IN OUT mode for bind arguments passed as parameters. For example, suppose you want to call the following standalone procedure:</a:t>
            </a:r>
          </a:p>
          <a:p>
            <a:pPr>
              <a:buNone/>
            </a:pPr>
            <a:endParaRPr lang="en-US" sz="12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sequenc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_seq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start with 51 increment by 1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or replace PROCEDUR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_dep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 OUT NUMBER,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 VARCHAR2, loc IN VARCHAR2)  AS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f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&lt;=50 then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SELECT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_seq.NEXTVAL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ROM dual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 if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INSERT INTO dept VALUES 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loc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</a:t>
            </a:r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9:  Using clause with modes 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clause with IN, OUT and IN OUT modes		……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1034716"/>
            <a:ext cx="8819147" cy="3633537"/>
          </a:xfrm>
        </p:spPr>
        <p:txBody>
          <a:bodyPr>
            <a:normAutofit/>
          </a:bodyPr>
          <a:lstStyle/>
          <a:p>
            <a:pPr algn="just"/>
            <a:r>
              <a:rPr lang="en-US" sz="1400" dirty="0" smtClean="0"/>
              <a:t>To call the procedure from a dynamic PL/SQL block, you must specify the IN  OUT mode(only IN or only OUT will give an error) for the bind argument associated with formal parameter </a:t>
            </a:r>
            <a:r>
              <a:rPr lang="en-US" sz="1400" dirty="0" err="1" smtClean="0"/>
              <a:t>deptno</a:t>
            </a:r>
            <a:r>
              <a:rPr lang="en-US" sz="1400" dirty="0" smtClean="0"/>
              <a:t>, as follows:</a:t>
            </a:r>
          </a:p>
          <a:p>
            <a:pPr>
              <a:buNone/>
            </a:pPr>
            <a:endParaRPr lang="en-US" sz="12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sql_block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500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ew_deptno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(2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ew_d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4) := ’ADVERTISING’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ew_loc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3) := ’NEW YORK’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sql_block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’BEGIN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_dep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:a, :b, :c); END;’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sql_block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IN OUT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ew_deptno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ew_d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ew_loc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ew_deptno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9:  Using clause with modes 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clause with IN, OUT and IN OUT modes		……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1034716"/>
            <a:ext cx="8819147" cy="3633537"/>
          </a:xfrm>
        </p:spPr>
        <p:txBody>
          <a:bodyPr>
            <a:normAutofit fontScale="92500" lnSpcReduction="20000"/>
          </a:bodyPr>
          <a:lstStyle/>
          <a:p>
            <a:pPr algn="just"/>
            <a:r>
              <a:rPr lang="en-US" sz="1400" dirty="0" smtClean="0"/>
              <a:t>To associate a cursor-variable with a query using OPEN….FOR:</a:t>
            </a:r>
          </a:p>
          <a:p>
            <a:pPr>
              <a:buNone/>
            </a:pPr>
            <a:endParaRPr lang="en-US" sz="12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type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curtyp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ref cursor; -- define weak ref cursor type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curtyp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 -- declare cursor variable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nam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5)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 := 1000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open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'select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rom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&gt; :s' using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 open cursor variable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loop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fetch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nam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 -- fetch next row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exit when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%notfound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 -- exit loop when last row is fetched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Name : '||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nam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Salary : '||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nd loop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close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 -- close cursor variable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  <a:endParaRPr lang="en-US" sz="13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0:  Cursor Variables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Cursor Variables with Dynamic SQL	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390525" y="129781"/>
            <a:ext cx="8153400" cy="53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Candara"/>
                <a:ea typeface="+mj-ea"/>
                <a:cs typeface="Arial" pitchFamily="34" charset="0"/>
              </a:rPr>
              <a:t>Lesson Objectives</a:t>
            </a:r>
          </a:p>
        </p:txBody>
      </p:sp>
      <p:sp>
        <p:nvSpPr>
          <p:cNvPr id="5123" name="Content Placeholder 12"/>
          <p:cNvSpPr>
            <a:spLocks/>
          </p:cNvSpPr>
          <p:nvPr/>
        </p:nvSpPr>
        <p:spPr bwMode="auto">
          <a:xfrm>
            <a:off x="319088" y="925116"/>
            <a:ext cx="6157912" cy="3770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On completion of this lesson on Dynamic SQL, you will be able to:</a:t>
            </a:r>
          </a:p>
          <a:p>
            <a:pPr lvl="1"/>
            <a:r>
              <a:rPr lang="en-US" dirty="0" smtClean="0"/>
              <a:t>State the need for Dynamic SQL </a:t>
            </a:r>
          </a:p>
          <a:p>
            <a:pPr lvl="1"/>
            <a:r>
              <a:rPr lang="en-US" dirty="0" smtClean="0"/>
              <a:t>Understand the ways of implementing Dynamic SQL</a:t>
            </a:r>
          </a:p>
          <a:p>
            <a:pPr lvl="1"/>
            <a:r>
              <a:rPr lang="en-US" dirty="0" smtClean="0"/>
              <a:t>Understand the use of the various Options of the EXECUTE IMMEDIATE command</a:t>
            </a:r>
          </a:p>
          <a:p>
            <a:pPr lvl="1"/>
            <a:endParaRPr lang="en-US" dirty="0"/>
          </a:p>
        </p:txBody>
      </p:sp>
      <p:grpSp>
        <p:nvGrpSpPr>
          <p:cNvPr id="2" name="Group 17"/>
          <p:cNvGrpSpPr>
            <a:grpSpLocks/>
          </p:cNvGrpSpPr>
          <p:nvPr/>
        </p:nvGrpSpPr>
        <p:grpSpPr bwMode="auto">
          <a:xfrm>
            <a:off x="6934200" y="1182291"/>
            <a:ext cx="1716088" cy="1103709"/>
            <a:chOff x="4176" y="993"/>
            <a:chExt cx="1273" cy="1119"/>
          </a:xfrm>
        </p:grpSpPr>
        <p:sp>
          <p:nvSpPr>
            <p:cNvPr id="5125" name="Rectangle 14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5126" name="Picture 16" descr="objectives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4" y="1080"/>
              <a:ext cx="1056" cy="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xmlns="" val="2105339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1034716"/>
            <a:ext cx="8819147" cy="3633537"/>
          </a:xfrm>
        </p:spPr>
        <p:txBody>
          <a:bodyPr>
            <a:normAutofit fontScale="92500" lnSpcReduction="20000"/>
          </a:bodyPr>
          <a:lstStyle/>
          <a:p>
            <a:pPr algn="just"/>
            <a:r>
              <a:rPr lang="en-US" sz="1400" dirty="0" smtClean="0"/>
              <a:t>To associate a query accepted as string-parameter with a cursor-variable using OPEN….FOR:</a:t>
            </a:r>
          </a:p>
          <a:p>
            <a:pPr>
              <a:buNone/>
            </a:pPr>
            <a:endParaRPr lang="en-US" sz="12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or replace procedure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proc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query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,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.sal%typ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 is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ys_refcursor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 -- declare cursor variable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nam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.ename%typ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.sal%typ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open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query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loop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fetch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nam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 -- fetch next row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exit when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%notfound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 -- exit loop when last row is fetched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Name : '||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nam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Salary : '||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nd loop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close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 -- close cursor variable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</a:t>
            </a:r>
          </a:p>
          <a:p>
            <a:pPr>
              <a:buNone/>
            </a:pP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proc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select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rom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</a:t>
            </a:r>
            <a:r>
              <a:rPr lang="en-US" sz="13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&gt;:x',1000);</a:t>
            </a:r>
            <a:endParaRPr lang="en-US" sz="13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0:  Cursor Variables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Cursor Variables with Dynamic SQL		……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1034716"/>
            <a:ext cx="8819147" cy="3633537"/>
          </a:xfrm>
        </p:spPr>
        <p:txBody>
          <a:bodyPr>
            <a:normAutofit/>
          </a:bodyPr>
          <a:lstStyle/>
          <a:p>
            <a:pPr algn="just"/>
            <a:r>
              <a:rPr lang="en-US" sz="1400" dirty="0" smtClean="0"/>
              <a:t>To create an Object-type and a </a:t>
            </a:r>
            <a:r>
              <a:rPr lang="en-US" sz="1400" dirty="0" err="1" smtClean="0"/>
              <a:t>Varray</a:t>
            </a:r>
            <a:r>
              <a:rPr lang="en-US" sz="1400" dirty="0" smtClean="0"/>
              <a:t> Object-type :</a:t>
            </a:r>
          </a:p>
          <a:p>
            <a:pPr>
              <a:buNone/>
            </a:pPr>
            <a:endParaRPr lang="en-US" sz="12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type person as object (name varchar2(25), age number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or replace typ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hobby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array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10) of varchar2(25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r>
              <a:rPr lang="en-US" sz="1200" dirty="0" smtClean="0"/>
              <a:t>Using dynamic SQL, you can write a package of procedures that uses these types, as follows:</a:t>
            </a:r>
          </a:p>
          <a:p>
            <a:pPr>
              <a:buNone/>
            </a:pPr>
            <a:r>
              <a:rPr lang="en-US" sz="1200" dirty="0" smtClean="0"/>
              <a:t> 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package teams as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procedur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_tabl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_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procedur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nsert_row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_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, p person, h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hobby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procedur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rint_tabl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_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endParaRPr lang="en-US" sz="12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1:  Objects and Dynamic SQL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OBJECT-TYPE and VARRAY with Dynamic SQL	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78306"/>
            <a:ext cx="8819147" cy="3789948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or replace  package body teams as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procedur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_tabl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_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) is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begin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create table ' ||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_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||'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er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person,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hobb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hobby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'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 	procedur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nsert_row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_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, p person, h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hobby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 is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begin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insert into ' ||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_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|| ' values (:1, :2)' using p, h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end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procedur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rint_tabl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_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) is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typ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refcurtyp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ref cursor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v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refcurtyp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p person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h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hobby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begin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open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v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'select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er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hobb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rom ' ||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ab_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endParaRPr lang="en-US" sz="12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1:  Objects and Dynamic SQL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OBJECT-TYPE and VARRAY with Dynamic SQL    …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90338"/>
            <a:ext cx="8819147" cy="3862136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 	 	loop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	fetch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v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p, h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	exit when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v%notfound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Customer Age :'||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.ag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Customer Name :' || p.name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	For y in 1..h.count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	Loop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Hobbies '||y||' '||h(y)); End loop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end loop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clos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v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end; end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 algn="just"/>
            <a:r>
              <a:rPr lang="en-US" sz="1200" dirty="0" smtClean="0"/>
              <a:t>Grant the below mentioned privilege or  else you wont be able to create a table thru native dynamic </a:t>
            </a:r>
            <a:r>
              <a:rPr lang="en-US" sz="1200" dirty="0" err="1" smtClean="0"/>
              <a:t>sql</a:t>
            </a:r>
            <a:r>
              <a:rPr lang="en-US" sz="1200" dirty="0" smtClean="0"/>
              <a:t> through a stored or packaged procedure.</a:t>
            </a:r>
          </a:p>
          <a:p>
            <a:pPr>
              <a:buNone/>
            </a:pPr>
            <a:r>
              <a:rPr lang="en-US" sz="1200" dirty="0" smtClean="0"/>
              <a:t>		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Grant create any table to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cot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r>
              <a:rPr lang="en-US" sz="1200" dirty="0" smtClean="0"/>
              <a:t>Execute the packaged-procedures as follows :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eams.create_tabl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a'); 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eams.insert_row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a' ,person ('Hemant', 28),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hobby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cricket', 'hockey', '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footbal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)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teams.print_tabl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a');</a:t>
            </a:r>
            <a:endParaRPr lang="en-US" sz="12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1:  Objects and Dynamic SQL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OBJECT-TYPE and VARRAY with Dynamic SQL    …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1010652"/>
            <a:ext cx="8819147" cy="3741821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TYP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CurTyp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REF CURSOR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TYP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TABLE OF NUMBER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TYP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TABLE OF VARCHAR2(15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CurTyp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a number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:=1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BEGIN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OPEN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'SELECT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ROM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following statement is implementation of BULK…FETCH 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FETCH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BULK COLLECT INTO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CLOS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cv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endParaRPr lang="en-US" sz="12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2:  Bulk Fetch and Bulk Collect  with Dynamic SQL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BULK FETCH and BULK COLLECT with Dynamic SQL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90338"/>
            <a:ext cx="8819147" cy="3862136"/>
          </a:xfrm>
        </p:spPr>
        <p:txBody>
          <a:bodyPr>
            <a:noAutofit/>
          </a:bodyPr>
          <a:lstStyle/>
          <a:p>
            <a:pPr>
              <a:buNone/>
            </a:pPr>
            <a:endParaRPr lang="en-US" sz="12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following statement is implementation of BULK…COLLECT 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SELECT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ROM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  BULK COLLECT INTO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a:=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s.coun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Whil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&lt;=a loop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||' '||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||' '||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:=ctr+1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End loop; 	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</a:t>
            </a:r>
            <a:r>
              <a:rPr lang="en-US" sz="1200" dirty="0" smtClean="0"/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  <a:endParaRPr lang="en-US" sz="12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2:  Bulk Fetch and Bulk Collect  with Dynamic SQL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BULK FETCH and BULK COLLECT with Dynamic SQL …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902368"/>
            <a:ext cx="8819147" cy="3850105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TYP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TABLE OF VARCHAR2(15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omm_am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 := 500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_stm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(200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a number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:=1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_stm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'UPDAT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SET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omm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 :1 wher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=30 RETURNING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:2'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_stm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omm_am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RETURNING BULK COLLECT INTO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a:=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.coun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Whil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&lt;=a loop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:=ctr+1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End loop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 </a:t>
            </a:r>
            <a:endParaRPr lang="en-US" sz="12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3:  Returning Bulk Collect  with Dynamic SQL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RETURNING BULK COLLECT with Dynamic SQL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TYP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TABLE OF NUMBER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TYP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TABLE OF VARCHAR2(15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a number; 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:=1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Lis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7900,7902, 7369,7844,7876,7788,7782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Implementation of BULK FOR ALL using the USING clause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FORALL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 1..5 </a:t>
            </a:r>
          </a:p>
          <a:p>
            <a:pPr algn="just"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UPDAT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SET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* 1.1 WHER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 :1 RETURNING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:2‘ 	USING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 RETURNING BULK COLLECT INTO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		a:=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.count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While 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&lt;=a loop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s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)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	</a:t>
            </a:r>
            <a:r>
              <a:rPr lang="en-US" sz="1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tr</a:t>
            </a: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:=ctr+1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End loop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  <a:endParaRPr lang="en-US" sz="12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4: </a:t>
            </a:r>
            <a:r>
              <a:rPr lang="en-US" sz="1200" dirty="0" smtClean="0"/>
              <a:t>Bulk Bind and Bulk Collect with Dynamic SQL 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BULK BIND and BULK COLLECT with Dynamic SQL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r>
              <a:rPr lang="en-US" sz="1400" dirty="0" smtClean="0"/>
              <a:t>  Object names/column names in the dynamic </a:t>
            </a:r>
            <a:r>
              <a:rPr lang="en-US" sz="1400" dirty="0" err="1" smtClean="0"/>
              <a:t>sql</a:t>
            </a:r>
            <a:r>
              <a:rPr lang="en-US" sz="1400" dirty="0" smtClean="0"/>
              <a:t> string have to appended using the concatenation operator.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tabx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0):='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tabx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execute immediate 'create  table '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tabx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(x number, y char)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r>
              <a:rPr lang="en-US" sz="1400" dirty="0" smtClean="0"/>
              <a:t>Using clause cannot be used to replace object names/column names.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tabx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0):='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tablex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create  table :1(x number, y char)' using trim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tabx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5: </a:t>
            </a:r>
            <a:r>
              <a:rPr lang="en-US" sz="1200" dirty="0" smtClean="0"/>
              <a:t>Concatenation for Object/Column names 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Concatenation for Object/Column names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r>
              <a:rPr lang="en-US" sz="1400" dirty="0" smtClean="0"/>
              <a:t>  Stored Procedure which will disable the triggers on the table-name passed as parameter to it :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OR REPLACE PROCEDURE DISABLE_TRIGGERS(TABLE_NAME VARCHAR2)  is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A  NUMBER(4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B NUMBER(4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 algn="just"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SELECT COUNT(*) INTO A  FROM USER_TABLES WHERE TABLE_NAME 	=upper(DISABLE_TRIGGERS.TABLE_NAME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		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IF A=0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DBMS_OUTPUT.PUT_LINE('NO SUCH TABLE EXISTS IN DATA DICTIONARY'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ELSE</a:t>
            </a:r>
          </a:p>
          <a:p>
            <a:pPr algn="just"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SELECT COUNT(*) INTO B FROM USER_TRIGGERS WHERE  TABLE_NAME = 			upper(DISABLE_TRIGGERS. TABLE_NAME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DBMS_OUTPUT.PUT_LINE('TOTAL NO OF TRIGGERS ON GIVEN TABLE IS:'||B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f b&gt;0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UTE IMMEDIATE 'ALTER TABLE '|| DISABLE_TRIGGERS. TABLE_NAME ||' DISABLE ALL TRIGGERS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ls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DBMS_OUTPUT.PUT_LINE('There are no triggers to disable'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6: Example </a:t>
            </a:r>
            <a:r>
              <a:rPr lang="en-US" sz="1200" dirty="0" smtClean="0"/>
              <a:t> 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Dynamic SQL to Disable Triggers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26306"/>
            <a:ext cx="8570662" cy="3771900"/>
          </a:xfrm>
        </p:spPr>
        <p:txBody>
          <a:bodyPr>
            <a:normAutofit/>
          </a:bodyPr>
          <a:lstStyle/>
          <a:p>
            <a:pPr algn="just">
              <a:defRPr/>
            </a:pPr>
            <a:r>
              <a:rPr lang="en-US" dirty="0" smtClean="0"/>
              <a:t>Predictable Jobs</a:t>
            </a:r>
          </a:p>
          <a:p>
            <a:pPr lvl="1" algn="just">
              <a:defRPr/>
            </a:pPr>
            <a:r>
              <a:rPr lang="en-US" dirty="0" smtClean="0"/>
              <a:t>Most PL/SQL programs do a specific, predictable job. For example, a stored procedure might accept an employee number and increase his salary by updating the </a:t>
            </a:r>
            <a:r>
              <a:rPr lang="en-US" dirty="0" err="1" smtClean="0"/>
              <a:t>sal</a:t>
            </a:r>
            <a:r>
              <a:rPr lang="en-US" dirty="0" smtClean="0"/>
              <a:t> column in the </a:t>
            </a:r>
            <a:r>
              <a:rPr lang="en-US" dirty="0" err="1" smtClean="0"/>
              <a:t>emp</a:t>
            </a:r>
            <a:r>
              <a:rPr lang="en-US" dirty="0" smtClean="0"/>
              <a:t> table. In this case, the full text of the UPDATE statement is known at compile time. Such statements do not change from execution to execution. So, they are called </a:t>
            </a:r>
            <a:r>
              <a:rPr lang="en-US" i="1" dirty="0" smtClean="0"/>
              <a:t>static </a:t>
            </a:r>
            <a:r>
              <a:rPr lang="en-US" dirty="0" smtClean="0"/>
              <a:t>SQL statements. </a:t>
            </a:r>
          </a:p>
          <a:p>
            <a:pPr algn="just">
              <a:defRPr/>
            </a:pPr>
            <a:r>
              <a:rPr lang="en-US" dirty="0" smtClean="0"/>
              <a:t>Dynamic Jobs</a:t>
            </a:r>
          </a:p>
          <a:p>
            <a:pPr lvl="1" algn="just">
              <a:defRPr/>
            </a:pPr>
            <a:r>
              <a:rPr lang="en-US" dirty="0" smtClean="0"/>
              <a:t>However, some programs must build and process a variety of SQL statements at run time. For example, a stored procedure which accepts a table-name as a parameter and deletes all the row from that table.</a:t>
            </a:r>
          </a:p>
          <a:p>
            <a:pPr lvl="1" algn="just">
              <a:defRPr/>
            </a:pPr>
            <a:r>
              <a:rPr lang="en-US" dirty="0" smtClean="0"/>
              <a:t>Such statements can, and probably will, change from execution to execution. So, they are called </a:t>
            </a:r>
            <a:r>
              <a:rPr lang="en-US" i="1" dirty="0" smtClean="0"/>
              <a:t>dynamic </a:t>
            </a:r>
            <a:r>
              <a:rPr lang="en-US" dirty="0" smtClean="0"/>
              <a:t>SQL statements.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: Introduction to Dynamic SQL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b="1" dirty="0" smtClean="0">
                <a:latin typeface="Candara"/>
              </a:rPr>
              <a:t>What is Dyna</a:t>
            </a:r>
            <a:r>
              <a:rPr lang="en-US" dirty="0" smtClean="0">
                <a:latin typeface="Candara"/>
              </a:rPr>
              <a:t>mic SQL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If b&gt;0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EXECUTE IMMEDIATE 'ALTER TABLE '|| DISABLE_TRIGGERS. TABLE_NAME ||' 			DISABLE ALL TRIGGERS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ls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DBMS_OUTPUT.PUT_LINE('There are no triggers to disable'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6: Example </a:t>
            </a:r>
            <a:r>
              <a:rPr lang="en-US" sz="1200" dirty="0" smtClean="0"/>
              <a:t> to  disable triggers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Dynamic SQL to Disable Triggers			……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</a:p>
          <a:p>
            <a:pPr algn="just"/>
            <a:r>
              <a:rPr lang="en-US" sz="1400" dirty="0" smtClean="0"/>
              <a:t>	DBMS_SQL is an Oracle-supplied Package which can be used to implement Dynamic SQL using 	the various procedures and functions of the said package</a:t>
            </a:r>
          </a:p>
          <a:p>
            <a:pPr algn="just"/>
            <a:endParaRPr lang="en-US" sz="1400" dirty="0" smtClean="0"/>
          </a:p>
          <a:p>
            <a:pPr algn="just"/>
            <a:r>
              <a:rPr lang="en-US" sz="1400" dirty="0" smtClean="0"/>
              <a:t> 	Oracle8</a:t>
            </a:r>
            <a:r>
              <a:rPr lang="en-US" sz="1400" i="1" dirty="0" smtClean="0"/>
              <a:t>i </a:t>
            </a:r>
            <a:r>
              <a:rPr lang="en-US" sz="1400" dirty="0" smtClean="0"/>
              <a:t>introduces native dynamic SQL, an alternative to DBMS_SQL. Using native dynamic SQL, 	you can place dynamic SQL statements directly into PL/SQL blocks. In most situations, native 	dynamic SQL can replace DBMS_SQL. Native dynamic SQL is easier to use and performs better 	than DBMS_SQL.</a:t>
            </a:r>
          </a:p>
          <a:p>
            <a:pPr algn="just"/>
            <a:endParaRPr lang="en-US" sz="1400" dirty="0" smtClean="0"/>
          </a:p>
          <a:p>
            <a:pPr algn="just"/>
            <a:r>
              <a:rPr lang="en-US" sz="1400" dirty="0" smtClean="0"/>
              <a:t>	Implementation of Dynamic SQL using DBMS_SQL is lengthier and more complicated as compared 	to native dynamic SQL</a:t>
            </a:r>
          </a:p>
          <a:p>
            <a:pPr algn="just"/>
            <a:endParaRPr lang="en-US" sz="1400" dirty="0" smtClean="0"/>
          </a:p>
          <a:p>
            <a:pPr algn="just"/>
            <a:r>
              <a:rPr lang="en-US" sz="1400" dirty="0" smtClean="0"/>
              <a:t>	For better performance and something easier to use, EXECUTE IMMEDIATE(Native Dynamic SQL) 	is preferred over DBMS_SQL</a:t>
            </a:r>
          </a:p>
          <a:p>
            <a:pPr algn="just"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 algn="just"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7: DBMS_SQL </a:t>
            </a:r>
            <a:r>
              <a:rPr lang="en-US" sz="1200" dirty="0" smtClean="0"/>
              <a:t> 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DBMS_SQL for Dynamic SQL</a:t>
            </a:r>
            <a:r>
              <a:rPr lang="en-US" smtClean="0">
                <a:latin typeface="Candara"/>
              </a:rPr>
              <a:t>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OPEN_CURSOR</a:t>
            </a:r>
            <a:endParaRPr lang="en-US" sz="1400" dirty="0" smtClean="0"/>
          </a:p>
          <a:p>
            <a:pPr algn="just">
              <a:buNone/>
            </a:pPr>
            <a:r>
              <a:rPr lang="en-US" sz="1400" dirty="0" smtClean="0"/>
              <a:t>	To process a SQL statement, you must have an open cursor. When you call the OPEN_CURSOR function, you receive a cursor ID number for the data structure representing a valid cursor maintained by Oracle. These cursors are used only by the DBMS_SQL package.</a:t>
            </a:r>
          </a:p>
          <a:p>
            <a:pPr>
              <a:buNone/>
            </a:pPr>
            <a:endParaRPr lang="en-US" sz="1400" dirty="0" smtClean="0"/>
          </a:p>
          <a:p>
            <a:r>
              <a:rPr lang="en-US" sz="1400" b="1" dirty="0" smtClean="0"/>
              <a:t>PARSE</a:t>
            </a:r>
            <a:endParaRPr lang="en-US" sz="1400" dirty="0" smtClean="0"/>
          </a:p>
          <a:p>
            <a:pPr algn="just">
              <a:buNone/>
            </a:pPr>
            <a:r>
              <a:rPr lang="en-US" sz="1400" dirty="0" smtClean="0"/>
              <a:t>	Every SQL statement must be parsed by calling the PARSE procedure. Parsing the statement checks the statement’s syntax and associates it with the cursor in your program. </a:t>
            </a:r>
          </a:p>
          <a:p>
            <a:pPr>
              <a:buNone/>
            </a:pPr>
            <a:r>
              <a:rPr lang="en-US" sz="1400" dirty="0" smtClean="0"/>
              <a:t>	You can parse any DML or DDL statement. </a:t>
            </a:r>
          </a:p>
          <a:p>
            <a:pPr>
              <a:buNone/>
            </a:pPr>
            <a:r>
              <a:rPr lang="en-US" sz="1400" dirty="0" smtClean="0"/>
              <a:t>	DDL statements are run on the parse, which performs the implied commit.</a:t>
            </a:r>
          </a:p>
          <a:p>
            <a:pPr>
              <a:buNone/>
            </a:pPr>
            <a:r>
              <a:rPr lang="en-US" sz="1400" dirty="0" smtClean="0"/>
              <a:t> </a:t>
            </a:r>
          </a:p>
          <a:p>
            <a:r>
              <a:rPr lang="en-US" sz="1400" b="1" dirty="0" smtClean="0"/>
              <a:t>DEFINE_COLUMN</a:t>
            </a:r>
            <a:endParaRPr lang="en-US" sz="1400" dirty="0" smtClean="0"/>
          </a:p>
          <a:p>
            <a:pPr algn="just">
              <a:buNone/>
            </a:pPr>
            <a:r>
              <a:rPr lang="en-US" sz="1400" dirty="0" smtClean="0"/>
              <a:t>	The columns of the row being selected in a SELECT statement are identified by their relative positions as they appear in the select list, from left to right. For a query, you must call one of the define procedures (DEFINE_COLUMN, DEFINE_COLUMN_LONG, or DEFINE_ARRAY) to specify the variables that are to receive the SELECT values, much the way an INTO clause does for a static query.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8: Methods of DBMS_SQL </a:t>
            </a:r>
            <a:r>
              <a:rPr lang="en-US" sz="1200" dirty="0" smtClean="0"/>
              <a:t> 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Procedures and Functions of DBMS_SQL for Dynamic SQL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r>
              <a:rPr lang="en-US" sz="1400" b="1" dirty="0" smtClean="0"/>
              <a:t>BIND_VARIABLE</a:t>
            </a:r>
            <a:endParaRPr lang="en-US" sz="1400" dirty="0" smtClean="0"/>
          </a:p>
          <a:p>
            <a:pPr algn="just">
              <a:buNone/>
            </a:pPr>
            <a:r>
              <a:rPr lang="en-US" sz="1400" dirty="0" smtClean="0"/>
              <a:t>	Many DML statements require that data in your program be input to Oracle. When you define a SQL statement that contains input data to be supplied at runtime, you must use placeholders in the SQL statement to mark where data must be supplied. </a:t>
            </a:r>
          </a:p>
          <a:p>
            <a:pPr algn="just">
              <a:buNone/>
            </a:pPr>
            <a:r>
              <a:rPr lang="en-US" sz="1400" dirty="0" smtClean="0"/>
              <a:t>	For each placeholder in the SQL statement, you must call one of the bind procedures, BIND_VARIABLE or BIND_ARRAY, to supply the value of a variable in your program (or the values of an array) to the placeholder.</a:t>
            </a:r>
          </a:p>
          <a:p>
            <a:endParaRPr lang="en-US" sz="400" b="1" dirty="0" smtClean="0"/>
          </a:p>
          <a:p>
            <a:r>
              <a:rPr lang="en-US" sz="1400" b="1" dirty="0" smtClean="0"/>
              <a:t>EXECUTE</a:t>
            </a:r>
            <a:endParaRPr lang="en-US" sz="1400" dirty="0" smtClean="0"/>
          </a:p>
          <a:p>
            <a:pPr>
              <a:buNone/>
            </a:pPr>
            <a:r>
              <a:rPr lang="en-US" sz="1400" dirty="0" smtClean="0"/>
              <a:t>Call the EXECUTE function to run your SQL statement.</a:t>
            </a:r>
          </a:p>
          <a:p>
            <a:endParaRPr lang="en-US" sz="400" dirty="0" smtClean="0"/>
          </a:p>
          <a:p>
            <a:r>
              <a:rPr lang="en-US" sz="1400" dirty="0" smtClean="0"/>
              <a:t> </a:t>
            </a:r>
            <a:r>
              <a:rPr lang="en-US" sz="1400" b="1" dirty="0" smtClean="0"/>
              <a:t>FETCH_ROWS</a:t>
            </a:r>
            <a:endParaRPr lang="en-US" sz="1400" dirty="0" smtClean="0"/>
          </a:p>
          <a:p>
            <a:pPr>
              <a:buNone/>
            </a:pPr>
            <a:r>
              <a:rPr lang="en-US" sz="1400" dirty="0" smtClean="0"/>
              <a:t>The FETCH_ROWS function is used to fetch the current row.</a:t>
            </a:r>
          </a:p>
          <a:p>
            <a:endParaRPr lang="en-US" sz="400" dirty="0" smtClean="0"/>
          </a:p>
          <a:p>
            <a:r>
              <a:rPr lang="en-US" sz="1400" dirty="0" smtClean="0"/>
              <a:t> </a:t>
            </a:r>
            <a:r>
              <a:rPr lang="en-US" sz="1400" b="1" dirty="0" smtClean="0"/>
              <a:t>COLUMN_VALUE</a:t>
            </a:r>
            <a:endParaRPr lang="en-US" sz="1400" dirty="0" smtClean="0"/>
          </a:p>
          <a:p>
            <a:pPr>
              <a:buNone/>
            </a:pPr>
            <a:r>
              <a:rPr lang="en-US" sz="1400" dirty="0" smtClean="0"/>
              <a:t>Call COLUMN_VALUE to read the values of the columns of the fetched row into variables.</a:t>
            </a:r>
          </a:p>
          <a:p>
            <a:r>
              <a:rPr lang="en-US" sz="1400" dirty="0" smtClean="0"/>
              <a:t> </a:t>
            </a:r>
            <a:r>
              <a:rPr lang="en-US" sz="1400" b="1" dirty="0" smtClean="0"/>
              <a:t>CLOSE_CURSOR</a:t>
            </a:r>
            <a:endParaRPr lang="en-US" sz="1400" dirty="0" smtClean="0"/>
          </a:p>
          <a:p>
            <a:pPr>
              <a:buNone/>
            </a:pPr>
            <a:r>
              <a:rPr lang="en-US" sz="1400" dirty="0" smtClean="0"/>
              <a:t>When you no longer need a cursor for a session, close the cursor by calling CLOSE_CURSOR.</a:t>
            </a:r>
          </a:p>
          <a:p>
            <a:pPr algn="just"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8: Methods of DBMS_SQL </a:t>
            </a:r>
            <a:r>
              <a:rPr lang="en-US" sz="1200" dirty="0" smtClean="0"/>
              <a:t> 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Procedures and Functions of DBMS_SQL for Dynamic SQL …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endParaRPr lang="en-US" sz="1400" dirty="0" smtClean="0"/>
          </a:p>
          <a:p>
            <a:r>
              <a:rPr lang="en-US" sz="1400" dirty="0" smtClean="0"/>
              <a:t>Procedure that deletes all of the employees from the EMP table whose salaries are greater than the salary passed as parameter using DBMS_SQL : 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OR REPLACE PROCEDURE demo(salary IN NUMBER) AS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EG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rows_processe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EG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ope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BMS_SQL.PARS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’DELETE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a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&gt; :x’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nativ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BMS_SQL.BIND_VARIABL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’:x’, salary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rows_processe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execut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clos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rows_processe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CEPTIO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WHEN OTHERS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CLOSE_CURSOR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 demo(4000);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9: Example  to delete  rows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DBMS_SQL to delete rows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CEPTIO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WHEN OTHERS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DBMS_SQL.CLOSE_CURSOR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exec demo(4000);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 algn="just"/>
            <a:r>
              <a:rPr lang="en-US" sz="1400" dirty="0" smtClean="0"/>
              <a:t>The 3</a:t>
            </a:r>
            <a:r>
              <a:rPr lang="en-US" sz="1400" baseline="30000" dirty="0" smtClean="0"/>
              <a:t>rd</a:t>
            </a:r>
            <a:r>
              <a:rPr lang="en-US" sz="1400" dirty="0" smtClean="0"/>
              <a:t> parameter of DBMS_SQL.PARSE, that is, ‘</a:t>
            </a:r>
            <a:r>
              <a:rPr lang="en-US" sz="1400" dirty="0" err="1" smtClean="0"/>
              <a:t>dbms_sql.native</a:t>
            </a:r>
            <a:r>
              <a:rPr lang="en-US" sz="1400" dirty="0" smtClean="0"/>
              <a:t>’, which specifies the language flag. The “NATIVE” setting means that behavior of working with Dynamic SQL using DBMS_SQL should be according to the current version of the Oracle Database.</a:t>
            </a:r>
          </a:p>
          <a:p>
            <a:pPr algn="just"/>
            <a:r>
              <a:rPr lang="en-US" sz="1400" dirty="0" err="1" smtClean="0"/>
              <a:t>language_flag</a:t>
            </a:r>
            <a:r>
              <a:rPr lang="en-US" sz="1400" dirty="0" smtClean="0"/>
              <a:t>: Determines how Oracle handles the SQL statement. The following options are recognized: </a:t>
            </a:r>
          </a:p>
          <a:p>
            <a:pPr lvl="1" algn="just"/>
            <a:r>
              <a:rPr lang="en-US" sz="1000" dirty="0" smtClean="0"/>
              <a:t>V6 (or 0) specifies version 6 behavior.</a:t>
            </a:r>
          </a:p>
          <a:p>
            <a:pPr lvl="1" algn="just"/>
            <a:r>
              <a:rPr lang="en-US" sz="1000" dirty="0" smtClean="0"/>
              <a:t>NATIVE (or 1) specifies normal behavior for the database to which the program is connected.</a:t>
            </a:r>
          </a:p>
          <a:p>
            <a:pPr lvl="1" algn="just"/>
            <a:r>
              <a:rPr lang="en-US" sz="1000" dirty="0" smtClean="0"/>
              <a:t>V7 (or 2) specifies Oracle database version 7 behavior. </a:t>
            </a:r>
            <a:endParaRPr lang="en-US" sz="10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9: Example  to delete  rows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DBMS_SQL to delete rows				….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OR REPLACE PROCEDURE exec(STRING IN varchar2) AS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EG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ret INTEG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DBMS_SQL.OPEN_CURSO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BMS_SQL.PARS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string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nativ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ret := DBMS_SQL.EXECUT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ret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BMS_SQL.CLOSE_CURSOR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ursor_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0: Example  to execute simple SQL commands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DBMS_SQL to execute simple SQL commands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 algn="just"/>
            <a:endParaRPr lang="en-US" sz="1400" dirty="0" smtClean="0"/>
          </a:p>
          <a:p>
            <a:pPr algn="just">
              <a:buNone/>
            </a:pPr>
            <a:endParaRPr lang="en-US" sz="1400" dirty="0" smtClean="0"/>
          </a:p>
          <a:p>
            <a:pPr algn="just"/>
            <a:r>
              <a:rPr lang="en-US" sz="1400" dirty="0" smtClean="0"/>
              <a:t>Simple SQL statements can be dynamically generated at runtime by the calling the EXEC procedure. The SQL statement can be a DDL statement or a DML without binds.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endParaRPr lang="en-US" sz="1400" dirty="0" smtClean="0"/>
          </a:p>
          <a:p>
            <a:r>
              <a:rPr lang="en-US" sz="1400" dirty="0" smtClean="0"/>
              <a:t>After creating the EXEC procedure, you could make the following calls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delete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);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Drop table employee');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delete from dept');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Drop table dept');</a:t>
            </a:r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0: Example  to execute simple SQL commands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DBMS_SQL to execute simple SQL commands	…..</a:t>
            </a:r>
            <a:r>
              <a:rPr lang="en-US" dirty="0" err="1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 algn="just"/>
            <a:endParaRPr lang="en-US" sz="1400" dirty="0" smtClean="0"/>
          </a:p>
          <a:p>
            <a:pPr algn="just"/>
            <a:r>
              <a:rPr lang="en-US" sz="1400" dirty="0" smtClean="0"/>
              <a:t>Procedure to copy rows from EMPSOURCE table to EMPTARGET  table :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tabl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sourc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as select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d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ame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hiredat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tabl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target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as select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d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ame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hiredat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1=0;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OR REPLACE PROCEDURE copy(source IN VARCHAR2, destination IN VARCHAR2) IS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d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30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DATE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EG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stinatio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EG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ignore INTEG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a number;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Example for methods  of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Procedures and Functions of DBMS_SQL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 Prepare a cursor to select from the source table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ope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BMS_SQL.PARS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'SELECT id, name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ROM ' || source, 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nativ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BMS_SQL.DEFINE_COLUMN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1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d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BMS_SQL.DEFINE_COLUMN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2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30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BMS_SQL.DEFINE_COLUMN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3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ignore := DBMS_SQL.EXECUT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row processed '|| ignore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-- returns 0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 Prepare a cursor to insert into the destination table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stinatio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= DBMS_SQL.OPEN_CURSO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BMS_SQL.PARS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stinatio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'INSERT INTO ' || destination || ' VALUES (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d_bi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	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bi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_bi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'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nativ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Example for methods  of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Procedures and Functions of DBMS_SQL		….cont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26306"/>
            <a:ext cx="8570662" cy="3771900"/>
          </a:xfrm>
        </p:spPr>
        <p:txBody>
          <a:bodyPr>
            <a:normAutofit/>
          </a:bodyPr>
          <a:lstStyle/>
          <a:p>
            <a:pPr algn="just">
              <a:defRPr/>
            </a:pPr>
            <a:r>
              <a:rPr lang="en-US" dirty="0" smtClean="0"/>
              <a:t>Dynamic Statements</a:t>
            </a:r>
          </a:p>
          <a:p>
            <a:pPr lvl="1" algn="just"/>
            <a:r>
              <a:rPr lang="en-US" sz="1600" dirty="0" smtClean="0"/>
              <a:t>Dynamic SQL statements are stored in character strings built by your program at run time. Such strings must contain the text of a valid SQL statement or PL/SQL block. They can also contain placeholders for bind arguments. A </a:t>
            </a:r>
            <a:r>
              <a:rPr lang="en-US" sz="1600" i="1" dirty="0" smtClean="0"/>
              <a:t>placeholder </a:t>
            </a:r>
            <a:r>
              <a:rPr lang="en-US" sz="1600" dirty="0" smtClean="0"/>
              <a:t>is an undeclared identifier, so it’s name, to which you must prefix a colon, does not matter. </a:t>
            </a:r>
          </a:p>
          <a:p>
            <a:pPr lvl="1" algn="just"/>
            <a:r>
              <a:rPr lang="en-US" sz="1600" dirty="0" smtClean="0"/>
              <a:t>For example, PL/SQL makes no distinction between the following strings:</a:t>
            </a:r>
          </a:p>
          <a:p>
            <a:pPr lvl="2"/>
            <a:r>
              <a:rPr lang="en-US" dirty="0" smtClean="0"/>
              <a:t>’DELETE FROM </a:t>
            </a:r>
            <a:r>
              <a:rPr lang="en-US" dirty="0" err="1" smtClean="0"/>
              <a:t>emp</a:t>
            </a:r>
            <a:r>
              <a:rPr lang="en-US" dirty="0" smtClean="0"/>
              <a:t> WHERE </a:t>
            </a:r>
            <a:r>
              <a:rPr lang="en-US" dirty="0" err="1" smtClean="0"/>
              <a:t>sal</a:t>
            </a:r>
            <a:r>
              <a:rPr lang="en-US" dirty="0" smtClean="0"/>
              <a:t> &gt; :</a:t>
            </a:r>
            <a:r>
              <a:rPr lang="en-US" dirty="0" err="1" smtClean="0"/>
              <a:t>my_sal</a:t>
            </a:r>
            <a:r>
              <a:rPr lang="en-US" dirty="0" smtClean="0"/>
              <a:t> AND </a:t>
            </a:r>
            <a:r>
              <a:rPr lang="en-US" dirty="0" err="1" smtClean="0"/>
              <a:t>comm</a:t>
            </a:r>
            <a:r>
              <a:rPr lang="en-US" dirty="0" smtClean="0"/>
              <a:t> &lt; :</a:t>
            </a:r>
            <a:r>
              <a:rPr lang="en-US" dirty="0" err="1" smtClean="0"/>
              <a:t>my_comm</a:t>
            </a:r>
            <a:r>
              <a:rPr lang="en-US" dirty="0" smtClean="0"/>
              <a:t>’</a:t>
            </a:r>
          </a:p>
          <a:p>
            <a:pPr lvl="2"/>
            <a:r>
              <a:rPr lang="en-US" dirty="0" smtClean="0"/>
              <a:t>’DELETE FROM </a:t>
            </a:r>
            <a:r>
              <a:rPr lang="en-US" dirty="0" err="1" smtClean="0"/>
              <a:t>emp</a:t>
            </a:r>
            <a:r>
              <a:rPr lang="en-US" dirty="0" smtClean="0"/>
              <a:t> WHERE </a:t>
            </a:r>
            <a:r>
              <a:rPr lang="en-US" dirty="0" err="1" smtClean="0"/>
              <a:t>sal</a:t>
            </a:r>
            <a:r>
              <a:rPr lang="en-US" dirty="0" smtClean="0"/>
              <a:t> &gt; :s AND </a:t>
            </a:r>
            <a:r>
              <a:rPr lang="en-US" dirty="0" err="1" smtClean="0"/>
              <a:t>comm</a:t>
            </a:r>
            <a:r>
              <a:rPr lang="en-US" dirty="0" smtClean="0"/>
              <a:t> &lt; :c’. 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: Introduction to Dynamic SQL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b="1" dirty="0" smtClean="0">
                <a:latin typeface="Candara"/>
              </a:rPr>
              <a:t>What is Dyna</a:t>
            </a:r>
            <a:r>
              <a:rPr lang="en-US" dirty="0" smtClean="0">
                <a:latin typeface="Candara"/>
              </a:rPr>
              <a:t>mic SQL					….</a:t>
            </a:r>
            <a:r>
              <a:rPr lang="en-US" smtClean="0">
                <a:latin typeface="Candara"/>
              </a:rPr>
              <a:t>contd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 Fetch a row from the source table and insert it into the destination table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LOOP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A:= DBMS_SQL.FETCH_ROWS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IF a&gt;0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a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	--prints 1 for each fetch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hi'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d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	-- get column values of the row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DBMS_SQL.COLUMN_VALU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1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d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DBMS_SQL.COLUMN_VALU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2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DBMS_SQL.COLUMN_VALU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3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hi'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d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Example for methods  of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Procedures and Functions of DBMS_SQL</a:t>
            </a:r>
            <a:r>
              <a:rPr lang="en-US" sz="2000" dirty="0" smtClean="0">
                <a:latin typeface="Candara"/>
              </a:rPr>
              <a:t>		….cont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/* Bind the row into the cursor that inserts into the destination table.*/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/* You could alter this example by inserting an if condition before the bind, if required*/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DBMS_SQL.BIND_VARIABL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stinatio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'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d_bi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d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DBMS_SQL.BIND_VARIABL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stinatio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'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bi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DBMS_SQL.BIND_VARIABL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stinatio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'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_bi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irthdate_va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ignore := DBMS_SQL.EXECUTE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stinatio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LS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-- No more rows to copy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EXIT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ND LOOP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-- Commit and close all cursors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OMMIT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CLOSE_CURSOR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CLOSE_CURSOR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stinatio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Example for methods  of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Procedures and Functions of DBMS_SQL</a:t>
            </a:r>
            <a:r>
              <a:rPr lang="en-US" sz="2000" dirty="0" smtClean="0">
                <a:latin typeface="Candara"/>
              </a:rPr>
              <a:t>		….cont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XCEPTIO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WHEN OTHERS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IF DBMS_SQL.IS_OPEN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DBMS_SQL.CLOSE_CURSOR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ourc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IF DBMS_SQL.IS_OPEN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stinatio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DBMS_SQL.CLOSE_CURSOR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stinatio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RAISE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 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ec copy('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sourc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, '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target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);</a:t>
            </a:r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Example for methods  of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e of Procedures and Functions of DBMS_SQL</a:t>
            </a:r>
            <a:r>
              <a:rPr lang="en-US" sz="2000" dirty="0" smtClean="0">
                <a:latin typeface="Candara"/>
              </a:rPr>
              <a:t>		….cont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 algn="just">
              <a:buNone/>
            </a:pPr>
            <a:r>
              <a:rPr lang="en-US" sz="1400" dirty="0" smtClean="0"/>
              <a:t>	In a DELETE statement you could bind in an array in the WHERE clause and have the statement be run for each element in the array: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stmt varchar2(200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Number_Tabl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c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ummy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1) := 10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2) := 20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3) := 30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4) := 40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5) := 50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6) := 60;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Bulk DML with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BULK Array Binds with DMLs using DBMS_SQL</a:t>
            </a:r>
            <a:r>
              <a:rPr lang="en-US" sz="2000" dirty="0" smtClean="0">
                <a:latin typeface="Candara"/>
              </a:rPr>
              <a:t>	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stmt := 'delete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 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c :=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ope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cursor ' ||c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pars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, stmt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nativ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bind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, '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1, 4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ummy :=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execut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dummy ' || dummy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clos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;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Bulk DML with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BULK Array Binds with DMLs using DBMS_SQL		….cont</a:t>
            </a:r>
            <a:r>
              <a:rPr lang="en-US" sz="2000" dirty="0" smtClean="0">
                <a:latin typeface="Candara"/>
              </a:rPr>
              <a:t>	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ception 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when others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if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is_open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clos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raise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/>
              <a:t>/</a:t>
            </a:r>
          </a:p>
          <a:p>
            <a:pPr>
              <a:buNone/>
            </a:pPr>
            <a:r>
              <a:rPr lang="en-US" sz="1400" dirty="0" smtClean="0"/>
              <a:t> </a:t>
            </a:r>
          </a:p>
          <a:p>
            <a:r>
              <a:rPr lang="en-US" sz="1400" dirty="0" smtClean="0"/>
              <a:t>In the example above, only elements 1 through 4(optionally) are used as specified by the </a:t>
            </a:r>
            <a:r>
              <a:rPr lang="en-US" sz="1400" dirty="0" err="1" smtClean="0"/>
              <a:t>bind_array</a:t>
            </a:r>
            <a:r>
              <a:rPr lang="en-US" sz="1400" dirty="0" smtClean="0"/>
              <a:t> call. Each element of the array potentially deletes a large number of employees from the database.</a:t>
            </a:r>
            <a:endParaRPr lang="en-US" sz="1400" dirty="0"/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Bulk DML with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BULK Array Binds with DMLs using DBMS_SQL		….cont</a:t>
            </a:r>
            <a:r>
              <a:rPr lang="en-US" sz="2000" dirty="0" smtClean="0">
                <a:latin typeface="Candara"/>
              </a:rPr>
              <a:t>	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r>
              <a:rPr lang="en-US" sz="1400" dirty="0" smtClean="0"/>
              <a:t>Following is an example of a bulk INSERT statement :</a:t>
            </a:r>
          </a:p>
          <a:p>
            <a:pPr>
              <a:buNone/>
            </a:pPr>
            <a:r>
              <a:rPr lang="en-US" sz="1400" dirty="0" smtClean="0"/>
              <a:t>create table </a:t>
            </a:r>
            <a:r>
              <a:rPr lang="en-US" sz="1400" dirty="0" err="1" smtClean="0"/>
              <a:t>newemp</a:t>
            </a:r>
            <a:r>
              <a:rPr lang="en-US" sz="1400" dirty="0" smtClean="0"/>
              <a:t> as select </a:t>
            </a:r>
            <a:r>
              <a:rPr lang="en-US" sz="1400" dirty="0" err="1" smtClean="0"/>
              <a:t>empno</a:t>
            </a:r>
            <a:r>
              <a:rPr lang="en-US" sz="1400" dirty="0" smtClean="0"/>
              <a:t>, </a:t>
            </a:r>
            <a:r>
              <a:rPr lang="en-US" sz="1400" dirty="0" err="1" smtClean="0"/>
              <a:t>ename</a:t>
            </a:r>
            <a:r>
              <a:rPr lang="en-US" sz="1400" dirty="0" smtClean="0"/>
              <a:t> from </a:t>
            </a:r>
            <a:r>
              <a:rPr lang="en-US" sz="1400" dirty="0" err="1" smtClean="0"/>
              <a:t>emp</a:t>
            </a:r>
            <a:r>
              <a:rPr lang="en-US" sz="1400" dirty="0" smtClean="0"/>
              <a:t> where 1=0;</a:t>
            </a:r>
          </a:p>
          <a:p>
            <a:pPr>
              <a:buNone/>
            </a:pPr>
            <a:r>
              <a:rPr lang="en-US" sz="1400" dirty="0" smtClean="0"/>
              <a:t> 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stmt varchar2(200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Number_Tabl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ame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dbms_sql.Varchar2_Table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c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ummy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for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 0..9 loop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 := 1000 +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ame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 := '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nd loop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stmt := 'insert into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ew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lues(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‘;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Bulk DML with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BULK Array Binds with DMLs using DBMS_SQL		….cont</a:t>
            </a:r>
            <a:r>
              <a:rPr lang="en-US" sz="2000" dirty="0" smtClean="0">
                <a:latin typeface="Candara"/>
              </a:rPr>
              <a:t>	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c :=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ope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cursor ' ||c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pars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, stmt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nativ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bind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, '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bind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, '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ame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ummy :=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execut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dummy ' || dummy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clos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ception 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when others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if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is_open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 th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clos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; 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raise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400" dirty="0" smtClean="0"/>
              <a:t>When the execute takes place, all 10 of the employees are inserted into the </a:t>
            </a:r>
            <a:r>
              <a:rPr lang="en-US" sz="1400" smtClean="0"/>
              <a:t>newemp </a:t>
            </a:r>
            <a:r>
              <a:rPr lang="en-US" sz="1400" dirty="0" smtClean="0"/>
              <a:t>table.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Bulk DML with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BULK Array Binds with DMLs using DBMS_SQL		….cont</a:t>
            </a:r>
            <a:r>
              <a:rPr lang="en-US" sz="2000" dirty="0" smtClean="0">
                <a:latin typeface="Candara"/>
              </a:rPr>
              <a:t>	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r>
              <a:rPr lang="en-US" sz="1400" dirty="0" smtClean="0"/>
              <a:t>Following is an example of an bulk UPDATE statement.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stmt varchar2(200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Number_Tabl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name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dbms_sql.Varchar2_Table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c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ummy numbe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for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 0..9 loop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 := 1000 +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name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I) := '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ew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nd loop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stmt := 'updat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ew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set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 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 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‘;</a:t>
            </a:r>
          </a:p>
          <a:p>
            <a:pPr>
              <a:buNone/>
            </a:pPr>
            <a:r>
              <a:rPr lang="en-US" sz="140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c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:=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open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cursor ' || c);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Bulk DML with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BULK Array Binds with DMLs using DBMS_SQL		….cont</a:t>
            </a:r>
            <a:r>
              <a:rPr lang="en-US" sz="2000" dirty="0" smtClean="0">
                <a:latin typeface="Candara"/>
              </a:rPr>
              <a:t>	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pars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, stmt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nativ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bind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, '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no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bind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, '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ame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,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_name_array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dummy :=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execut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dummy ' || dummy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clos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xception 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when others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if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is_open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 th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sql.close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c); 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raise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400" dirty="0" smtClean="0"/>
              <a:t>	</a:t>
            </a:r>
          </a:p>
          <a:p>
            <a:pPr>
              <a:buNone/>
            </a:pPr>
            <a:r>
              <a:rPr lang="en-US" sz="1400" dirty="0" smtClean="0"/>
              <a:t>	The two collections are always stepped in unison. If the WHERE clause returns more than one row, then all those employees get the name the </a:t>
            </a:r>
            <a:r>
              <a:rPr lang="en-US" sz="1400" dirty="0" err="1" smtClean="0"/>
              <a:t>emp_name_array</a:t>
            </a:r>
            <a:r>
              <a:rPr lang="en-US" sz="1400" dirty="0" smtClean="0"/>
              <a:t>  happens to be pointing to at that time.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98992"/>
            <a:ext cx="91440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1: Bulk DML with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BULK Array Binds with DMLs using DBMS_SQL		….cont</a:t>
            </a:r>
            <a:r>
              <a:rPr lang="en-US" sz="2000" dirty="0" smtClean="0">
                <a:latin typeface="Candara"/>
              </a:rPr>
              <a:t>	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26306"/>
            <a:ext cx="8570662" cy="3771900"/>
          </a:xfrm>
        </p:spPr>
        <p:txBody>
          <a:bodyPr>
            <a:normAutofit/>
          </a:bodyPr>
          <a:lstStyle/>
          <a:p>
            <a:r>
              <a:rPr lang="en-US" dirty="0" smtClean="0"/>
              <a:t>You need dynamic SQL in the following situations:</a:t>
            </a:r>
          </a:p>
          <a:p>
            <a:pPr lvl="1" algn="just"/>
            <a:r>
              <a:rPr lang="en-US" dirty="0" smtClean="0"/>
              <a:t>You want to execute a SQL data definition statement (such as CREATE), a data control statement (such as GRANT), or a session control statement (such as ALTER SESSION). </a:t>
            </a:r>
            <a:r>
              <a:rPr lang="en-US" b="1" dirty="0" smtClean="0"/>
              <a:t>In PL/SQL, such statements cannot be executed statically.</a:t>
            </a:r>
            <a:endParaRPr lang="en-US" dirty="0" smtClean="0"/>
          </a:p>
          <a:p>
            <a:pPr lvl="1" algn="just"/>
            <a:r>
              <a:rPr lang="en-US" dirty="0" smtClean="0"/>
              <a:t>You want more flexibility. For example, you might want to </a:t>
            </a:r>
            <a:r>
              <a:rPr lang="en-US" b="1" dirty="0" smtClean="0"/>
              <a:t>defer your choice of schema objects until run time.</a:t>
            </a:r>
            <a:r>
              <a:rPr lang="en-US" dirty="0" smtClean="0"/>
              <a:t> Or, you might want your program to build </a:t>
            </a:r>
            <a:r>
              <a:rPr lang="en-US" b="1" dirty="0" smtClean="0"/>
              <a:t>different search conditions for the WHERE clause</a:t>
            </a:r>
            <a:r>
              <a:rPr lang="en-US" dirty="0" smtClean="0"/>
              <a:t> of a SELECT statement. A more complex program might choose from various SQL operations, clauses, etc.</a:t>
            </a:r>
          </a:p>
          <a:p>
            <a:pPr lvl="1" algn="just"/>
            <a:r>
              <a:rPr lang="en-US" dirty="0" smtClean="0"/>
              <a:t>You want better performance as compared to DBMS_SQL, something easier to use(Native Dynamic SQL). This is specifically an advantage of Native Dynamic SQL(using EXECUTE IMMEDIATE command)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: </a:t>
            </a:r>
            <a:r>
              <a:rPr lang="en-US" sz="1400" dirty="0" smtClean="0">
                <a:latin typeface="Candara"/>
              </a:rPr>
              <a:t>Reasons for using </a:t>
            </a:r>
            <a:r>
              <a:rPr lang="en-US" sz="1400" b="1" dirty="0" smtClean="0">
                <a:latin typeface="Candara"/>
              </a:rPr>
              <a:t> to Dynamic SQL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b="1" dirty="0" smtClean="0">
                <a:latin typeface="Candara"/>
              </a:rPr>
              <a:t>Why do we need Dyna</a:t>
            </a:r>
            <a:r>
              <a:rPr lang="en-US" dirty="0" smtClean="0">
                <a:latin typeface="Candara"/>
              </a:rPr>
              <a:t>mic SQL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0474" y="842212"/>
            <a:ext cx="8819147" cy="3910262"/>
          </a:xfrm>
        </p:spPr>
        <p:txBody>
          <a:bodyPr>
            <a:noAutofit/>
          </a:bodyPr>
          <a:lstStyle/>
          <a:p>
            <a:endParaRPr lang="en-US" sz="1400" dirty="0" smtClean="0"/>
          </a:p>
          <a:p>
            <a:r>
              <a:rPr lang="en-US" sz="1400" dirty="0" smtClean="0"/>
              <a:t>Collection types which can be used as data-types to </a:t>
            </a:r>
            <a:r>
              <a:rPr lang="en-US" sz="1400" dirty="0" err="1" smtClean="0"/>
              <a:t>delcare</a:t>
            </a:r>
            <a:r>
              <a:rPr lang="en-US" sz="1400" dirty="0" smtClean="0"/>
              <a:t> collection variables in PLSQL :</a:t>
            </a:r>
          </a:p>
          <a:p>
            <a:pPr>
              <a:buNone/>
            </a:pPr>
            <a:r>
              <a:rPr lang="en-US" sz="1400" dirty="0" smtClean="0"/>
              <a:t>type </a:t>
            </a:r>
            <a:r>
              <a:rPr lang="en-US" sz="1400" dirty="0" err="1" smtClean="0"/>
              <a:t>Number_Table</a:t>
            </a:r>
            <a:r>
              <a:rPr lang="en-US" sz="1400" dirty="0" smtClean="0"/>
              <a:t> IS TABLE OF NUMBER INDEX BY BINARY_INTEGER;</a:t>
            </a:r>
          </a:p>
          <a:p>
            <a:pPr>
              <a:buNone/>
            </a:pPr>
            <a:r>
              <a:rPr lang="en-US" sz="1400" dirty="0" smtClean="0"/>
              <a:t>type Varchar2_Table IS TABLE OF VARCHAR2(2000) INDEX BY BINARY_INTEGER;</a:t>
            </a:r>
          </a:p>
          <a:p>
            <a:pPr>
              <a:buNone/>
            </a:pPr>
            <a:r>
              <a:rPr lang="en-US" sz="1400" dirty="0" smtClean="0"/>
              <a:t>type </a:t>
            </a:r>
            <a:r>
              <a:rPr lang="en-US" sz="1400" dirty="0" err="1" smtClean="0"/>
              <a:t>Date_Table</a:t>
            </a:r>
            <a:r>
              <a:rPr lang="en-US" sz="1400" dirty="0" smtClean="0"/>
              <a:t> IS TABLE OF DATE INDEX BY BINARY_INTEGER;</a:t>
            </a:r>
          </a:p>
          <a:p>
            <a:pPr>
              <a:buNone/>
            </a:pPr>
            <a:r>
              <a:rPr lang="en-US" sz="1400" dirty="0" smtClean="0"/>
              <a:t>type </a:t>
            </a:r>
            <a:r>
              <a:rPr lang="en-US" sz="1400" dirty="0" err="1" smtClean="0"/>
              <a:t>Blob_Table</a:t>
            </a:r>
            <a:r>
              <a:rPr lang="en-US" sz="1400" dirty="0" smtClean="0"/>
              <a:t> IS TABLE OF BLOB INDEX BY BINARY_INTEGER;</a:t>
            </a:r>
          </a:p>
          <a:p>
            <a:pPr>
              <a:buNone/>
            </a:pPr>
            <a:r>
              <a:rPr lang="en-US" sz="1400" dirty="0" smtClean="0"/>
              <a:t>type </a:t>
            </a:r>
            <a:r>
              <a:rPr lang="en-US" sz="1400" dirty="0" err="1" smtClean="0"/>
              <a:t>Clob_Table</a:t>
            </a:r>
            <a:r>
              <a:rPr lang="en-US" sz="1400" dirty="0" smtClean="0"/>
              <a:t> IS TABLE OF CLOB INDEX BY BINARY_INTEGER;</a:t>
            </a:r>
          </a:p>
          <a:p>
            <a:pPr>
              <a:buNone/>
            </a:pPr>
            <a:r>
              <a:rPr lang="en-US" sz="1400" dirty="0" smtClean="0"/>
              <a:t>type </a:t>
            </a:r>
            <a:r>
              <a:rPr lang="en-US" sz="1400" dirty="0" err="1" smtClean="0"/>
              <a:t>Bfile_Table</a:t>
            </a:r>
            <a:r>
              <a:rPr lang="en-US" sz="1400" dirty="0" smtClean="0"/>
              <a:t> IS TABLE OF BFILE INDEX BY BINARY_INTEGER;</a:t>
            </a:r>
          </a:p>
          <a:p>
            <a:pPr>
              <a:buNone/>
            </a:pPr>
            <a:r>
              <a:rPr lang="en-US" sz="1400" dirty="0" smtClean="0"/>
              <a:t>type </a:t>
            </a:r>
            <a:r>
              <a:rPr lang="en-US" sz="1400" dirty="0" err="1" smtClean="0"/>
              <a:t>Urowid_Table</a:t>
            </a:r>
            <a:r>
              <a:rPr lang="en-US" sz="1400" dirty="0" smtClean="0"/>
              <a:t> IS TABLE OF UROWID INDEX BY BINARY_INTEGER;</a:t>
            </a:r>
          </a:p>
          <a:p>
            <a:pPr>
              <a:buNone/>
            </a:pPr>
            <a:r>
              <a:rPr lang="en-US" sz="1400" dirty="0" smtClean="0"/>
              <a:t> </a:t>
            </a:r>
          </a:p>
          <a:p>
            <a:pPr>
              <a:buNone/>
            </a:pPr>
            <a:endParaRPr lang="en-US" sz="1400" dirty="0"/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35964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sz="1400" b="1" dirty="0" smtClean="0">
                <a:latin typeface="Candara"/>
              </a:rPr>
              <a:t>1.22: Bulk SQL Types in DBMS_SQL </a:t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Collection Types provided by DBMS_SQL</a:t>
            </a:r>
            <a:r>
              <a:rPr lang="en-US" sz="2000" dirty="0" smtClean="0">
                <a:latin typeface="Candara"/>
              </a:rPr>
              <a:t>	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86588"/>
            <a:ext cx="8570662" cy="3711617"/>
          </a:xfrm>
        </p:spPr>
        <p:txBody>
          <a:bodyPr>
            <a:normAutofit fontScale="77500" lnSpcReduction="20000"/>
          </a:bodyPr>
          <a:lstStyle/>
          <a:p>
            <a:pPr algn="just"/>
            <a:r>
              <a:rPr lang="en-US" dirty="0" smtClean="0"/>
              <a:t>To process native dynamic SQL statements, you use the </a:t>
            </a:r>
            <a:r>
              <a:rPr lang="en-US" b="1" dirty="0" smtClean="0"/>
              <a:t>EXECUTE IMMEDIATE</a:t>
            </a:r>
            <a:r>
              <a:rPr lang="en-US" dirty="0" smtClean="0"/>
              <a:t> statement.</a:t>
            </a:r>
          </a:p>
          <a:p>
            <a:pPr lvl="1">
              <a:buNone/>
            </a:pPr>
            <a:r>
              <a:rPr lang="en-US" dirty="0" smtClean="0">
                <a:ln>
                  <a:solidFill>
                    <a:srgbClr val="00B0F0"/>
                  </a:solidFill>
                </a:ln>
              </a:rPr>
              <a:t>begin</a:t>
            </a:r>
          </a:p>
          <a:p>
            <a:pPr>
              <a:buNone/>
            </a:pPr>
            <a:r>
              <a:rPr lang="en-US" dirty="0" smtClean="0">
                <a:ln>
                  <a:solidFill>
                    <a:srgbClr val="00B0F0"/>
                  </a:solidFill>
                </a:ln>
              </a:rPr>
              <a:t>		</a:t>
            </a:r>
            <a:r>
              <a:rPr lang="en-US" dirty="0" err="1" smtClean="0">
                <a:ln>
                  <a:solidFill>
                    <a:srgbClr val="00B0F0"/>
                  </a:solidFill>
                </a:ln>
              </a:rPr>
              <a:t>dbms_output.put_line</a:t>
            </a:r>
            <a:r>
              <a:rPr lang="en-US" dirty="0" smtClean="0">
                <a:ln>
                  <a:solidFill>
                    <a:srgbClr val="00B0F0"/>
                  </a:solidFill>
                </a:ln>
              </a:rPr>
              <a:t>('hello');</a:t>
            </a:r>
          </a:p>
          <a:p>
            <a:pPr>
              <a:buNone/>
            </a:pPr>
            <a:r>
              <a:rPr lang="en-US" dirty="0" smtClean="0">
                <a:ln>
                  <a:solidFill>
                    <a:srgbClr val="00B0F0"/>
                  </a:solidFill>
                </a:ln>
              </a:rPr>
              <a:t>		create table </a:t>
            </a:r>
            <a:r>
              <a:rPr lang="en-US" dirty="0" err="1" smtClean="0">
                <a:ln>
                  <a:solidFill>
                    <a:srgbClr val="00B0F0"/>
                  </a:solidFill>
                </a:ln>
              </a:rPr>
              <a:t>mydtable</a:t>
            </a:r>
            <a:r>
              <a:rPr lang="en-US" dirty="0" smtClean="0">
                <a:ln>
                  <a:solidFill>
                    <a:srgbClr val="00B0F0"/>
                  </a:solidFill>
                </a:ln>
              </a:rPr>
              <a:t>(</a:t>
            </a:r>
            <a:r>
              <a:rPr lang="en-US" dirty="0" err="1" smtClean="0">
                <a:ln>
                  <a:solidFill>
                    <a:srgbClr val="00B0F0"/>
                  </a:solidFill>
                </a:ln>
              </a:rPr>
              <a:t>empno</a:t>
            </a:r>
            <a:r>
              <a:rPr lang="en-US" dirty="0" smtClean="0">
                <a:ln>
                  <a:solidFill>
                    <a:srgbClr val="00B0F0"/>
                  </a:solidFill>
                </a:ln>
              </a:rPr>
              <a:t> number, </a:t>
            </a:r>
            <a:r>
              <a:rPr lang="en-US" dirty="0" err="1" smtClean="0">
                <a:ln>
                  <a:solidFill>
                    <a:srgbClr val="00B0F0"/>
                  </a:solidFill>
                </a:ln>
              </a:rPr>
              <a:t>ename</a:t>
            </a:r>
            <a:r>
              <a:rPr lang="en-US" dirty="0" smtClean="0">
                <a:ln>
                  <a:solidFill>
                    <a:srgbClr val="00B0F0"/>
                  </a:solidFill>
                </a:ln>
              </a:rPr>
              <a:t> char(10));</a:t>
            </a:r>
          </a:p>
          <a:p>
            <a:pPr>
              <a:buNone/>
            </a:pPr>
            <a:r>
              <a:rPr lang="en-US" dirty="0" smtClean="0">
                <a:ln>
                  <a:solidFill>
                    <a:srgbClr val="00B0F0"/>
                  </a:solidFill>
                </a:ln>
              </a:rPr>
              <a:t>	end;</a:t>
            </a:r>
          </a:p>
          <a:p>
            <a:pPr>
              <a:buNone/>
            </a:pPr>
            <a:r>
              <a:rPr lang="en-US" dirty="0" smtClean="0">
                <a:ln>
                  <a:solidFill>
                    <a:srgbClr val="00B0F0"/>
                  </a:solidFill>
                </a:ln>
              </a:rPr>
              <a:t>	/</a:t>
            </a:r>
          </a:p>
          <a:p>
            <a:pPr>
              <a:buNone/>
            </a:pPr>
            <a:r>
              <a:rPr lang="en-US" dirty="0" smtClean="0"/>
              <a:t>	this will give an error</a:t>
            </a:r>
          </a:p>
          <a:p>
            <a:endParaRPr lang="en-US" dirty="0" smtClean="0"/>
          </a:p>
          <a:p>
            <a:r>
              <a:rPr lang="en-US" dirty="0" smtClean="0"/>
              <a:t>The dynamic string can contain any SQL statement (</a:t>
            </a:r>
            <a:r>
              <a:rPr lang="en-US" i="1" dirty="0" smtClean="0"/>
              <a:t>without </a:t>
            </a:r>
            <a:r>
              <a:rPr lang="en-US" dirty="0" smtClean="0"/>
              <a:t>the terminator) or any PL/SQL block(with the terminator). The string can also contain placeholders for bind arguments.</a:t>
            </a:r>
          </a:p>
          <a:p>
            <a:pPr>
              <a:buNone/>
            </a:pPr>
            <a:r>
              <a:rPr lang="en-US" dirty="0" smtClean="0"/>
              <a:t>	</a:t>
            </a:r>
            <a:r>
              <a:rPr lang="en-US" dirty="0" smtClean="0">
                <a:ln>
                  <a:solidFill>
                    <a:srgbClr val="00B0F0"/>
                  </a:solidFill>
                </a:ln>
              </a:rPr>
              <a:t>begin</a:t>
            </a:r>
          </a:p>
          <a:p>
            <a:pPr>
              <a:buNone/>
            </a:pPr>
            <a:r>
              <a:rPr lang="en-US" dirty="0" smtClean="0">
                <a:ln>
                  <a:solidFill>
                    <a:srgbClr val="00B0F0"/>
                  </a:solidFill>
                </a:ln>
              </a:rPr>
              <a:t>		</a:t>
            </a:r>
            <a:r>
              <a:rPr lang="en-US" dirty="0" err="1" smtClean="0">
                <a:ln>
                  <a:solidFill>
                    <a:srgbClr val="00B0F0"/>
                  </a:solidFill>
                </a:ln>
              </a:rPr>
              <a:t>dbms_output.put_line</a:t>
            </a:r>
            <a:r>
              <a:rPr lang="en-US" dirty="0" smtClean="0">
                <a:ln>
                  <a:solidFill>
                    <a:srgbClr val="00B0F0"/>
                  </a:solidFill>
                </a:ln>
              </a:rPr>
              <a:t>('hello');</a:t>
            </a:r>
          </a:p>
          <a:p>
            <a:pPr>
              <a:buNone/>
            </a:pPr>
            <a:r>
              <a:rPr lang="en-US" dirty="0" smtClean="0">
                <a:ln>
                  <a:solidFill>
                    <a:srgbClr val="00B0F0"/>
                  </a:solidFill>
                </a:ln>
              </a:rPr>
              <a:t>		execute immediate 'create table mydtable1(</a:t>
            </a:r>
            <a:r>
              <a:rPr lang="en-US" dirty="0" err="1" smtClean="0">
                <a:ln>
                  <a:solidFill>
                    <a:srgbClr val="00B0F0"/>
                  </a:solidFill>
                </a:ln>
              </a:rPr>
              <a:t>empno</a:t>
            </a:r>
            <a:r>
              <a:rPr lang="en-US" dirty="0" smtClean="0">
                <a:ln>
                  <a:solidFill>
                    <a:srgbClr val="00B0F0"/>
                  </a:solidFill>
                </a:ln>
              </a:rPr>
              <a:t> number, </a:t>
            </a:r>
            <a:r>
              <a:rPr lang="en-US" dirty="0" err="1" smtClean="0">
                <a:ln>
                  <a:solidFill>
                    <a:srgbClr val="00B0F0"/>
                  </a:solidFill>
                </a:ln>
              </a:rPr>
              <a:t>ename</a:t>
            </a:r>
            <a:r>
              <a:rPr lang="en-US" dirty="0" smtClean="0">
                <a:ln>
                  <a:solidFill>
                    <a:srgbClr val="00B0F0"/>
                  </a:solidFill>
                </a:ln>
              </a:rPr>
              <a:t> char(10))';</a:t>
            </a:r>
          </a:p>
          <a:p>
            <a:pPr>
              <a:buNone/>
            </a:pPr>
            <a:r>
              <a:rPr lang="en-US" dirty="0" smtClean="0">
                <a:ln>
                  <a:solidFill>
                    <a:srgbClr val="00B0F0"/>
                  </a:solidFill>
                </a:ln>
              </a:rPr>
              <a:t>	end;</a:t>
            </a:r>
          </a:p>
          <a:p>
            <a:pPr>
              <a:buNone/>
            </a:pPr>
            <a:r>
              <a:rPr lang="en-US" dirty="0" smtClean="0">
                <a:ln>
                  <a:solidFill>
                    <a:srgbClr val="00B0F0"/>
                  </a:solidFill>
                </a:ln>
              </a:rPr>
              <a:t>	/</a:t>
            </a:r>
          </a:p>
          <a:p>
            <a:pPr>
              <a:buNone/>
            </a:pPr>
            <a:r>
              <a:rPr lang="en-US" dirty="0" smtClean="0"/>
              <a:t>	this will work and create the table.</a:t>
            </a:r>
          </a:p>
          <a:p>
            <a:pPr>
              <a:buNone/>
            </a:pPr>
            <a:endParaRPr lang="en-US" dirty="0" smtClean="0">
              <a:ln>
                <a:solidFill>
                  <a:srgbClr val="00B0F0"/>
                </a:solidFill>
              </a:ln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3: </a:t>
            </a:r>
            <a:r>
              <a:rPr lang="en-US" sz="1400" dirty="0" smtClean="0">
                <a:latin typeface="Candara"/>
              </a:rPr>
              <a:t>Native</a:t>
            </a:r>
            <a:r>
              <a:rPr lang="en-US" sz="1400" b="1" dirty="0" smtClean="0">
                <a:latin typeface="Candara"/>
              </a:rPr>
              <a:t> Dynamic SQL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E</a:t>
            </a:r>
            <a:r>
              <a:rPr lang="en-US" b="1" dirty="0" smtClean="0">
                <a:latin typeface="Candara"/>
              </a:rPr>
              <a:t>xecute Immediate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14400"/>
            <a:ext cx="8570662" cy="3886200"/>
          </a:xfrm>
        </p:spPr>
        <p:txBody>
          <a:bodyPr>
            <a:normAutofit fontScale="25000" lnSpcReduction="20000"/>
          </a:bodyPr>
          <a:lstStyle/>
          <a:p>
            <a:pPr algn="just"/>
            <a:r>
              <a:rPr lang="en-US" sz="4800" dirty="0" smtClean="0"/>
              <a:t>To provide values to the place-holders, we use the </a:t>
            </a:r>
            <a:r>
              <a:rPr lang="en-US" sz="4800" b="1" dirty="0" smtClean="0"/>
              <a:t>USING clause of EXECUTE IMMEDIATE</a:t>
            </a:r>
            <a:r>
              <a:rPr lang="en-US" sz="4800" dirty="0" smtClean="0"/>
              <a:t> statement :</a:t>
            </a:r>
          </a:p>
          <a:p>
            <a:pPr>
              <a:buNone/>
            </a:pPr>
            <a:r>
              <a:rPr lang="en-US" sz="4800" dirty="0" smtClean="0">
                <a:solidFill>
                  <a:srgbClr val="00B0F0"/>
                </a:solidFill>
              </a:rPr>
              <a:t>	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id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(4) := 101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bon number(7):=12000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begin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create table 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bonus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id number, amt number)'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insert into 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bonus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lues (:1, :2)' using 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id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ebon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/</a:t>
            </a:r>
          </a:p>
          <a:p>
            <a:pPr>
              <a:buNone/>
            </a:pPr>
            <a:endParaRPr lang="en-US" sz="32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declare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id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(4) := 101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bon number(7):=12000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t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00):= 'insert into mybonus1 values (:1, :2)'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begin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create table mybonus1(id number, amt number)'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t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id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ebon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4: Place-Holders of </a:t>
            </a:r>
            <a:r>
              <a:rPr lang="en-US" sz="1400" dirty="0" smtClean="0">
                <a:latin typeface="Candara"/>
              </a:rPr>
              <a:t>Native</a:t>
            </a:r>
            <a:r>
              <a:rPr lang="en-US" sz="1400" b="1" dirty="0" smtClean="0">
                <a:latin typeface="Candara"/>
              </a:rPr>
              <a:t> Dynamic SQL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clause of E</a:t>
            </a:r>
            <a:r>
              <a:rPr lang="en-US" b="1" dirty="0" smtClean="0">
                <a:latin typeface="Candara"/>
              </a:rPr>
              <a:t>xecute Immediate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 fontScale="25000" lnSpcReduction="20000"/>
          </a:bodyPr>
          <a:lstStyle/>
          <a:p>
            <a:pPr algn="just"/>
            <a:r>
              <a:rPr lang="en-US" sz="4800" dirty="0" smtClean="0"/>
              <a:t>To provide values to the place-holders, we use the </a:t>
            </a:r>
            <a:r>
              <a:rPr lang="en-US" sz="4800" b="1" dirty="0" smtClean="0"/>
              <a:t>USING clause of EXECUTE IMMEDIATE</a:t>
            </a:r>
            <a:r>
              <a:rPr lang="en-US" sz="4800" dirty="0" smtClean="0"/>
              <a:t> statement :</a:t>
            </a:r>
          </a:p>
          <a:p>
            <a:pPr>
              <a:buNone/>
            </a:pPr>
            <a:r>
              <a:rPr lang="en-US" sz="43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 	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t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00):= 'insert into mybonus11 values (:1, :2)'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begin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create table mybonus11 (id number, amt number)'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t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&amp;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id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&amp;ebon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/</a:t>
            </a:r>
          </a:p>
          <a:p>
            <a:pPr>
              <a:buNone/>
            </a:pPr>
            <a:endParaRPr lang="en-US" sz="56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declare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t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00):= 'insert into mybonus11 values (:1, :2)'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begin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execute immediate 'create table mybonus11 (id number, amt number)'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</a:t>
            </a:r>
            <a:r>
              <a:rPr lang="en-US" sz="56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t</a:t>
            </a: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101, 12000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;</a:t>
            </a:r>
          </a:p>
          <a:p>
            <a:pPr>
              <a:buNone/>
            </a:pPr>
            <a:r>
              <a:rPr lang="en-US" sz="56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4: Place-Holders of </a:t>
            </a:r>
            <a:r>
              <a:rPr lang="en-US" sz="1400" dirty="0" smtClean="0">
                <a:latin typeface="Candara"/>
              </a:rPr>
              <a:t>Native</a:t>
            </a:r>
            <a:r>
              <a:rPr lang="en-US" sz="1400" b="1" dirty="0" smtClean="0">
                <a:latin typeface="Candara"/>
              </a:rPr>
              <a:t> Dynamic SQL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clause of E</a:t>
            </a:r>
            <a:r>
              <a:rPr lang="en-US" b="1" dirty="0" smtClean="0">
                <a:latin typeface="Candara"/>
              </a:rPr>
              <a:t>xecute Immediate			….</a:t>
            </a:r>
            <a:r>
              <a:rPr lang="en-US" b="1" dirty="0" err="1" smtClean="0">
                <a:latin typeface="Candara"/>
              </a:rPr>
              <a:t>contd</a:t>
            </a:r>
            <a:r>
              <a:rPr lang="en-US" b="1" dirty="0" smtClean="0">
                <a:latin typeface="Candara"/>
              </a:rPr>
              <a:t>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 fontScale="92500" lnSpcReduction="10000"/>
          </a:bodyPr>
          <a:lstStyle/>
          <a:p>
            <a:pPr algn="just"/>
            <a:r>
              <a:rPr lang="en-US" sz="1400" dirty="0" smtClean="0"/>
              <a:t>To provide values to the place-holders, we use the </a:t>
            </a:r>
            <a:r>
              <a:rPr lang="en-US" sz="1400" b="1" dirty="0" smtClean="0"/>
              <a:t>USING clause of EXECUTE IMMEDIATE</a:t>
            </a:r>
            <a:r>
              <a:rPr lang="en-US" sz="1400" dirty="0" smtClean="0"/>
              <a:t> statement 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(2):=10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t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100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execute immediate '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=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the above statement will give an error as inside th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string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has no meaning and you have to 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us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to treat it as placeholder, followed by the  </a:t>
            </a:r>
            <a:r>
              <a:rPr lang="en-US" sz="1400" b="1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using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lause. In this case, it will search for a 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column named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 the table and since such a column does not exist, it will give error  ‘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is invalid identifier’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'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=: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' using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t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:='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wher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:b'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ecute immediat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qlt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using 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ept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/</a:t>
            </a:r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4: Place-Holders of </a:t>
            </a:r>
            <a:r>
              <a:rPr lang="en-US" sz="1400" dirty="0" smtClean="0">
                <a:latin typeface="Candara"/>
              </a:rPr>
              <a:t>Native</a:t>
            </a:r>
            <a:r>
              <a:rPr lang="en-US" sz="1400" b="1" dirty="0" smtClean="0">
                <a:latin typeface="Candara"/>
              </a:rPr>
              <a:t> Dynamic SQL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USING clause of E</a:t>
            </a:r>
            <a:r>
              <a:rPr lang="en-US" b="1" dirty="0" smtClean="0">
                <a:latin typeface="Candara"/>
              </a:rPr>
              <a:t>xecute Immediate			….</a:t>
            </a:r>
            <a:r>
              <a:rPr lang="en-US" b="1" dirty="0" err="1" smtClean="0">
                <a:latin typeface="Candara"/>
              </a:rPr>
              <a:t>contd</a:t>
            </a:r>
            <a:r>
              <a:rPr lang="en-US" b="1" dirty="0" smtClean="0">
                <a:latin typeface="Candara"/>
              </a:rPr>
              <a:t>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ClassBook-LessonXX-Template Capgemini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losing slides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Props1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a85eb2a3-840f-4054-86f6-d41d0c1cba4b"/>
    <ds:schemaRef ds:uri="952a6df7-b138-4f89-9bc4-e7a874ea325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lassBook-LessonXX-Template Capgemini</Template>
  <TotalTime>54386</TotalTime>
  <Words>1485</Words>
  <Application>Microsoft Office PowerPoint</Application>
  <PresentationFormat>On-screen Show (16:9)</PresentationFormat>
  <Paragraphs>701</Paragraphs>
  <Slides>50</Slides>
  <Notes>50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55" baseType="lpstr">
      <vt:lpstr>ClassBook-LessonXX-Template Capgemini</vt:lpstr>
      <vt:lpstr>2_Office Theme</vt:lpstr>
      <vt:lpstr>1_Office Theme</vt:lpstr>
      <vt:lpstr>Closing slides</vt:lpstr>
      <vt:lpstr>think-cell Slide</vt:lpstr>
      <vt:lpstr>Advanced PLSQL</vt:lpstr>
      <vt:lpstr>Slide 2</vt:lpstr>
      <vt:lpstr>1.1: Introduction to Dynamic SQL What is Dynamic SQL</vt:lpstr>
      <vt:lpstr>1.1: Introduction to Dynamic SQL What is Dynamic SQL     ….contd</vt:lpstr>
      <vt:lpstr>1.2: Reasons for using  to Dynamic SQL Why do we need Dynamic SQL</vt:lpstr>
      <vt:lpstr>1.3: Native Dynamic SQL Execute Immediate </vt:lpstr>
      <vt:lpstr>1.4: Place-Holders of Native Dynamic SQL USING clause of Execute Immediate </vt:lpstr>
      <vt:lpstr>1.4: Place-Holders of Native Dynamic SQL USING clause of Execute Immediate   ….contd </vt:lpstr>
      <vt:lpstr>1.4: Place-Holders of Native Dynamic SQL USING clause of Execute Immediate   ….contd </vt:lpstr>
      <vt:lpstr>1.5: INTO clause  INTO clause to retrieve values   </vt:lpstr>
      <vt:lpstr>1.6: Generating PLSQL dynamically PLSQL block using EXECUTE IMMEDIATE   </vt:lpstr>
      <vt:lpstr>1.6: Generating PLSQL dynamically PLSQL block using EXECUTE IMMEDIATE                 ….contd </vt:lpstr>
      <vt:lpstr>1.7:  RETURNING INTO clause  RETURNING INTO clause to retrieve values through DMLs</vt:lpstr>
      <vt:lpstr>1.7:  RETURNING INTO clause  RETURNING INTO clause to retrieve values through DMLs   …contd</vt:lpstr>
      <vt:lpstr>1.8:  Dynamic SQL in Stored Procedure   Stored Procedure generating a Dynamic SQL statement</vt:lpstr>
      <vt:lpstr>1.9:  Using clause with modes   USING clause with IN, OUT and IN OUT modes</vt:lpstr>
      <vt:lpstr>1.9:  Using clause with modes   USING clause with IN, OUT and IN OUT modes  ……contd</vt:lpstr>
      <vt:lpstr>1.9:  Using clause with modes   USING clause with IN, OUT and IN OUT modes  ……contd</vt:lpstr>
      <vt:lpstr>1.10:  Cursor Variables Using Cursor Variables with Dynamic SQL  </vt:lpstr>
      <vt:lpstr>1.10:  Cursor Variables Using Cursor Variables with Dynamic SQL  ……contd</vt:lpstr>
      <vt:lpstr>1.11:  Objects and Dynamic SQL Using OBJECT-TYPE and VARRAY with Dynamic SQL  </vt:lpstr>
      <vt:lpstr>1.11:  Objects and Dynamic SQL Using OBJECT-TYPE and VARRAY with Dynamic SQL    …contd</vt:lpstr>
      <vt:lpstr>1.11:  Objects and Dynamic SQL Using OBJECT-TYPE and VARRAY with Dynamic SQL    …contd</vt:lpstr>
      <vt:lpstr>1.12:  Bulk Fetch and Bulk Collect  with Dynamic SQL Using BULK FETCH and BULK COLLECT with Dynamic SQL</vt:lpstr>
      <vt:lpstr>1.12:  Bulk Fetch and Bulk Collect  with Dynamic SQL Using BULK FETCH and BULK COLLECT with Dynamic SQL …contd</vt:lpstr>
      <vt:lpstr>1.13:  Returning Bulk Collect  with Dynamic SQL Using RETURNING BULK COLLECT with Dynamic SQL</vt:lpstr>
      <vt:lpstr>1.14: Bulk Bind and Bulk Collect with Dynamic SQL  Using BULK BIND and BULK COLLECT with Dynamic SQL</vt:lpstr>
      <vt:lpstr>1.15: Concatenation for Object/Column names  Use of Concatenation for Object/Column names</vt:lpstr>
      <vt:lpstr>1.16: Example   Use of Dynamic SQL to Disable Triggers</vt:lpstr>
      <vt:lpstr>1.16: Example  to  disable triggers Use of Dynamic SQL to Disable Triggers   ……contd</vt:lpstr>
      <vt:lpstr>1.17: DBMS_SQL   Use of DBMS_SQL for Dynamic SQL </vt:lpstr>
      <vt:lpstr>1.18: Methods of DBMS_SQL   Procedures and Functions of DBMS_SQL for Dynamic SQL</vt:lpstr>
      <vt:lpstr>1.18: Methods of DBMS_SQL   Procedures and Functions of DBMS_SQL for Dynamic SQL …contd</vt:lpstr>
      <vt:lpstr>1.19: Example  to delete  rows  Use of DBMS_SQL to delete rows</vt:lpstr>
      <vt:lpstr>1.19: Example  to delete  rows  Use of DBMS_SQL to delete rows    ….contd</vt:lpstr>
      <vt:lpstr>1.20: Example  to execute simple SQL commands  Use of DBMS_SQL to execute simple SQL commands</vt:lpstr>
      <vt:lpstr>1.20: Example  to execute simple SQL commands  Use of DBMS_SQL to execute simple SQL commands …..contd</vt:lpstr>
      <vt:lpstr>1.21: Example for methods  of DBMS_SQL  Use of Procedures and Functions of DBMS_SQL</vt:lpstr>
      <vt:lpstr>1.21: Example for methods  of DBMS_SQL  Use of Procedures and Functions of DBMS_SQL  ….cont</vt:lpstr>
      <vt:lpstr>1.21: Example for methods  of DBMS_SQL  Use of Procedures and Functions of DBMS_SQL  ….cont</vt:lpstr>
      <vt:lpstr>1.21: Example for methods  of DBMS_SQL  Use of Procedures and Functions of DBMS_SQL  ….cont</vt:lpstr>
      <vt:lpstr>1.21: Example for methods  of DBMS_SQL  Use of Procedures and Functions of DBMS_SQL  ….cont</vt:lpstr>
      <vt:lpstr>1.21: Bulk DML with DBMS_SQL  BULK Array Binds with DMLs using DBMS_SQL  </vt:lpstr>
      <vt:lpstr>1.21: Bulk DML with DBMS_SQL  BULK Array Binds with DMLs using DBMS_SQL  ….cont  </vt:lpstr>
      <vt:lpstr>1.21: Bulk DML with DBMS_SQL  BULK Array Binds with DMLs using DBMS_SQL  ….cont  </vt:lpstr>
      <vt:lpstr>1.21: Bulk DML with DBMS_SQL  BULK Array Binds with DMLs using DBMS_SQL  ….cont  </vt:lpstr>
      <vt:lpstr>1.21: Bulk DML with DBMS_SQL  BULK Array Binds with DMLs using DBMS_SQL  ….cont  </vt:lpstr>
      <vt:lpstr>1.21: Bulk DML with DBMS_SQL  BULK Array Binds with DMLs using DBMS_SQL  ….cont  </vt:lpstr>
      <vt:lpstr>1.21: Bulk DML with DBMS_SQL  BULK Array Binds with DMLs using DBMS_SQL  ….cont  </vt:lpstr>
      <vt:lpstr> 1.22: Bulk SQL Types in DBMS_SQL  Collection Types provided by DBMS_SQL  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urse Name</dc:title>
  <dc:creator>hpangam</dc:creator>
  <cp:lastModifiedBy>hpangam</cp:lastModifiedBy>
  <cp:revision>1058</cp:revision>
  <dcterms:created xsi:type="dcterms:W3CDTF">2016-10-27T07:09:48Z</dcterms:created>
  <dcterms:modified xsi:type="dcterms:W3CDTF">2017-01-06T09:2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